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7"/>
  </p:notesMasterIdLst>
  <p:sldIdLst>
    <p:sldId id="257" r:id="rId2"/>
    <p:sldId id="432" r:id="rId3"/>
    <p:sldId id="433" r:id="rId4"/>
    <p:sldId id="434" r:id="rId5"/>
    <p:sldId id="435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52" d="100"/>
          <a:sy n="152" d="100"/>
        </p:scale>
        <p:origin x="604" y="10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7DA40F-0AFC-4044-BA37-62E5C580B324}" type="datetimeFigureOut">
              <a:rPr lang="en-US" smtClean="0"/>
              <a:t>1/31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08CA1E-7987-49F7-99D5-CBFB134BBEF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22736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FDEE44-2F84-48D1-BBF6-82E16595D1F6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04103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ure">
            <a:extLst>
              <a:ext uri="{FF2B5EF4-FFF2-40B4-BE49-F238E27FC236}">
                <a16:creationId xmlns:a16="http://schemas.microsoft.com/office/drawing/2014/main" id="{259E29B8-69B3-4461-B37F-0DBB9DC0476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67C7E9E7-7333-4EF5-9FC3-4CEF923EA801}"/>
              </a:ext>
            </a:extLst>
          </p:cNvPr>
          <p:cNvSpPr/>
          <p:nvPr userDrawn="1"/>
        </p:nvSpPr>
        <p:spPr>
          <a:xfrm>
            <a:off x="3555406" y="4109059"/>
            <a:ext cx="5169494" cy="1434491"/>
          </a:xfrm>
          <a:prstGeom prst="ellipse">
            <a:avLst/>
          </a:prstGeom>
          <a:gradFill flip="none" rotWithShape="1">
            <a:gsLst>
              <a:gs pos="55000">
                <a:schemeClr val="bg1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40" name="Logo">
            <a:extLst>
              <a:ext uri="{FF2B5EF4-FFF2-40B4-BE49-F238E27FC236}">
                <a16:creationId xmlns:a16="http://schemas.microsoft.com/office/drawing/2014/main" id="{D2A95714-9F6E-48DD-9ED6-94BDDECF0F49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258125" y="4703638"/>
            <a:ext cx="1675750" cy="393192"/>
            <a:chOff x="1231901" y="5359401"/>
            <a:chExt cx="11210925" cy="2630487"/>
          </a:xfrm>
        </p:grpSpPr>
        <p:sp>
          <p:nvSpPr>
            <p:cNvPr id="60" name="Freeform 5">
              <a:extLst>
                <a:ext uri="{FF2B5EF4-FFF2-40B4-BE49-F238E27FC236}">
                  <a16:creationId xmlns:a16="http://schemas.microsoft.com/office/drawing/2014/main" id="{39598F92-4036-449A-A381-281AC133F93A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">
              <a:extLst>
                <a:ext uri="{FF2B5EF4-FFF2-40B4-BE49-F238E27FC236}">
                  <a16:creationId xmlns:a16="http://schemas.microsoft.com/office/drawing/2014/main" id="{6A04830E-5424-4362-9CD6-60CBCC39C20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" name="Ruler">
            <a:extLst>
              <a:ext uri="{FF2B5EF4-FFF2-40B4-BE49-F238E27FC236}">
                <a16:creationId xmlns:a16="http://schemas.microsoft.com/office/drawing/2014/main" id="{DBE24C15-4489-4BF7-A20E-4FEB0A1A6671}"/>
              </a:ext>
            </a:extLst>
          </p:cNvPr>
          <p:cNvGrpSpPr/>
          <p:nvPr userDrawn="1"/>
        </p:nvGrpSpPr>
        <p:grpSpPr>
          <a:xfrm>
            <a:off x="5273041" y="4219340"/>
            <a:ext cx="1645920" cy="339946"/>
            <a:chOff x="5273041" y="4219340"/>
            <a:chExt cx="1645920" cy="339946"/>
          </a:xfrm>
        </p:grpSpPr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EBDB098C-E5AE-4364-A913-1C8D462BF9B3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3" y="4219340"/>
              <a:ext cx="0" cy="33994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F9A6D359-A1D3-413C-8281-5A2E7EEE3200}"/>
                </a:ext>
              </a:extLst>
            </p:cNvPr>
            <p:cNvCxnSpPr/>
            <p:nvPr/>
          </p:nvCxnSpPr>
          <p:spPr>
            <a:xfrm>
              <a:off x="527304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5A7D9A44-D64C-4D5A-B183-958220A4996C}"/>
                </a:ext>
              </a:extLst>
            </p:cNvPr>
            <p:cNvCxnSpPr/>
            <p:nvPr/>
          </p:nvCxnSpPr>
          <p:spPr>
            <a:xfrm>
              <a:off x="5364485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E34F8A2C-8776-4D1A-93D7-4590C0622121}"/>
                </a:ext>
              </a:extLst>
            </p:cNvPr>
            <p:cNvCxnSpPr/>
            <p:nvPr/>
          </p:nvCxnSpPr>
          <p:spPr>
            <a:xfrm>
              <a:off x="545592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91CB2CF-6B6F-48D5-8365-33EC34BA80A0}"/>
                </a:ext>
              </a:extLst>
            </p:cNvPr>
            <p:cNvCxnSpPr/>
            <p:nvPr/>
          </p:nvCxnSpPr>
          <p:spPr>
            <a:xfrm>
              <a:off x="5547364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4458D058-1610-4C89-9349-E009140E28F5}"/>
                </a:ext>
              </a:extLst>
            </p:cNvPr>
            <p:cNvCxnSpPr/>
            <p:nvPr/>
          </p:nvCxnSpPr>
          <p:spPr>
            <a:xfrm>
              <a:off x="563880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35743F61-B1FA-44F3-81EC-3FF4A1864B3B}"/>
                </a:ext>
              </a:extLst>
            </p:cNvPr>
            <p:cNvCxnSpPr/>
            <p:nvPr/>
          </p:nvCxnSpPr>
          <p:spPr>
            <a:xfrm>
              <a:off x="5730244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46A99D48-7BDC-4896-BBA2-67770AABD231}"/>
                </a:ext>
              </a:extLst>
            </p:cNvPr>
            <p:cNvCxnSpPr/>
            <p:nvPr/>
          </p:nvCxnSpPr>
          <p:spPr>
            <a:xfrm>
              <a:off x="582168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3B3F7266-53C6-4879-8513-A4486B8FC303}"/>
                </a:ext>
              </a:extLst>
            </p:cNvPr>
            <p:cNvCxnSpPr/>
            <p:nvPr/>
          </p:nvCxnSpPr>
          <p:spPr>
            <a:xfrm>
              <a:off x="5913123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1465021D-7CFB-4445-8798-684D88150AE5}"/>
                </a:ext>
              </a:extLst>
            </p:cNvPr>
            <p:cNvCxnSpPr/>
            <p:nvPr/>
          </p:nvCxnSpPr>
          <p:spPr>
            <a:xfrm>
              <a:off x="600456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1F2AFDE6-7C63-49EA-B242-2927A8B99025}"/>
                </a:ext>
              </a:extLst>
            </p:cNvPr>
            <p:cNvCxnSpPr/>
            <p:nvPr/>
          </p:nvCxnSpPr>
          <p:spPr>
            <a:xfrm>
              <a:off x="618744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D252C539-DDC5-412A-AD14-69BA4ED96AF5}"/>
                </a:ext>
              </a:extLst>
            </p:cNvPr>
            <p:cNvCxnSpPr/>
            <p:nvPr/>
          </p:nvCxnSpPr>
          <p:spPr>
            <a:xfrm>
              <a:off x="627888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A6D93BA2-F008-40E1-825E-6CF327EC92DA}"/>
                </a:ext>
              </a:extLst>
            </p:cNvPr>
            <p:cNvCxnSpPr/>
            <p:nvPr/>
          </p:nvCxnSpPr>
          <p:spPr>
            <a:xfrm>
              <a:off x="637032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ED2E7C4B-6367-42C3-B536-906DE4FD552D}"/>
                </a:ext>
              </a:extLst>
            </p:cNvPr>
            <p:cNvCxnSpPr/>
            <p:nvPr/>
          </p:nvCxnSpPr>
          <p:spPr>
            <a:xfrm>
              <a:off x="6461762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6A78576E-5C4A-48E5-B281-76308E82DB77}"/>
                </a:ext>
              </a:extLst>
            </p:cNvPr>
            <p:cNvCxnSpPr/>
            <p:nvPr/>
          </p:nvCxnSpPr>
          <p:spPr>
            <a:xfrm>
              <a:off x="655320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C1B39927-09E1-467A-8149-FE7A19A30F66}"/>
                </a:ext>
              </a:extLst>
            </p:cNvPr>
            <p:cNvCxnSpPr/>
            <p:nvPr/>
          </p:nvCxnSpPr>
          <p:spPr>
            <a:xfrm>
              <a:off x="664464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DC32B564-C1C7-4C1A-8066-81D90765D42D}"/>
                </a:ext>
              </a:extLst>
            </p:cNvPr>
            <p:cNvCxnSpPr/>
            <p:nvPr/>
          </p:nvCxnSpPr>
          <p:spPr>
            <a:xfrm>
              <a:off x="673608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31267B10-9154-4C28-9140-3AF5C2021E44}"/>
                </a:ext>
              </a:extLst>
            </p:cNvPr>
            <p:cNvCxnSpPr/>
            <p:nvPr/>
          </p:nvCxnSpPr>
          <p:spPr>
            <a:xfrm>
              <a:off x="6827521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290F9B9-A40C-41F9-B489-C1D87E71C101}"/>
                </a:ext>
              </a:extLst>
            </p:cNvPr>
            <p:cNvCxnSpPr/>
            <p:nvPr/>
          </p:nvCxnSpPr>
          <p:spPr>
            <a:xfrm>
              <a:off x="691896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Speaker Name">
            <a:extLst>
              <a:ext uri="{FF2B5EF4-FFF2-40B4-BE49-F238E27FC236}">
                <a16:creationId xmlns:a16="http://schemas.microsoft.com/office/drawing/2014/main" id="{88104DA9-6CD2-4C4F-A6AE-C5D0CD6E01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29295" y="2953512"/>
            <a:ext cx="4020340" cy="402336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buNone/>
              <a:defRPr lang="en-US" sz="1600" b="0" i="1" cap="none" spc="6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Speaker Name</a:t>
            </a:r>
          </a:p>
        </p:txBody>
      </p:sp>
      <p:sp>
        <p:nvSpPr>
          <p:cNvPr id="37" name="Text Placeholder 128">
            <a:extLst>
              <a:ext uri="{FF2B5EF4-FFF2-40B4-BE49-F238E27FC236}">
                <a16:creationId xmlns:a16="http://schemas.microsoft.com/office/drawing/2014/main" id="{69D5EB8D-3B85-4059-8F34-4BFB6D0DED4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49638" y="2953512"/>
            <a:ext cx="1513062" cy="402336"/>
          </a:xfr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1600" b="1" i="1" cap="all" spc="6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 algn="ctr">
              <a:spcBef>
                <a:spcPct val="0"/>
              </a:spcBef>
            </a:pPr>
            <a:r>
              <a:rPr lang="en-US"/>
              <a:t>YYYY.MM.DD</a:t>
            </a:r>
          </a:p>
        </p:txBody>
      </p:sp>
      <p:sp>
        <p:nvSpPr>
          <p:cNvPr id="38" name="Speaker Title">
            <a:extLst>
              <a:ext uri="{FF2B5EF4-FFF2-40B4-BE49-F238E27FC236}">
                <a16:creationId xmlns:a16="http://schemas.microsoft.com/office/drawing/2014/main" id="{0D9078F8-E937-4EF3-AC9B-A84856FA948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29295" y="3355848"/>
            <a:ext cx="5533405" cy="402336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buNone/>
              <a:defRPr lang="en-US" sz="16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Speaker Title / Company Name</a:t>
            </a:r>
          </a:p>
        </p:txBody>
      </p:sp>
      <p:sp>
        <p:nvSpPr>
          <p:cNvPr id="31" name="Title">
            <a:extLst>
              <a:ext uri="{FF2B5EF4-FFF2-40B4-BE49-F238E27FC236}">
                <a16:creationId xmlns:a16="http://schemas.microsoft.com/office/drawing/2014/main" id="{7A92962A-B660-43F3-9C7C-C1CD756ED7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09700" y="1456875"/>
            <a:ext cx="9372600" cy="1336928"/>
          </a:xfrm>
        </p:spPr>
        <p:txBody>
          <a:bodyPr anchor="b"/>
          <a:lstStyle>
            <a:lvl1pPr algn="ctr">
              <a:lnSpc>
                <a:spcPct val="90000"/>
              </a:lnSpc>
              <a:defRPr sz="4400"/>
            </a:lvl1pPr>
          </a:lstStyle>
          <a:p>
            <a:r>
              <a:rPr lang="en-US"/>
              <a:t>Title Slide Layou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FC49378-BFD9-43A8-8DB2-52BE426047C8}"/>
              </a:ext>
            </a:extLst>
          </p:cNvPr>
          <p:cNvSpPr/>
          <p:nvPr userDrawn="1"/>
        </p:nvSpPr>
        <p:spPr>
          <a:xfrm>
            <a:off x="0" y="0"/>
            <a:ext cx="12192000" cy="14161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vert="horz" lIns="137160" tIns="73152" rIns="137160" bIns="73152" rtlCol="0" anchor="ctr">
            <a:noAutofit/>
          </a:bodyPr>
          <a:lstStyle/>
          <a:p>
            <a:pPr marL="182880" lvl="0" indent="-182880" algn="ctr" defTabSz="914400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</a:pPr>
            <a:endParaRPr lang="en-US" sz="1600" b="1" cap="all" spc="300" baseline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42291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Mosa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/>
              <a:t>Subtitle (Delete if not used)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F06E54C9-A448-4577-8FFC-86B9235556E4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49261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750D041D-3D23-45A0-B825-F6942FB33899}"/>
              </a:ext>
            </a:extLst>
          </p:cNvPr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449261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A34408D2-7305-44BD-88E2-4782253029F6}"/>
              </a:ext>
            </a:extLst>
          </p:cNvPr>
          <p:cNvSpPr>
            <a:spLocks noGrp="1" noChangeAspect="1"/>
          </p:cNvSpPr>
          <p:nvPr>
            <p:ph type="pic" sz="quarter" idx="30" hasCustomPrompt="1"/>
          </p:nvPr>
        </p:nvSpPr>
        <p:spPr>
          <a:xfrm>
            <a:off x="449261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AE057395-5D60-4151-A3F4-BD3C26F517E0}"/>
              </a:ext>
            </a:extLst>
          </p:cNvPr>
          <p:cNvSpPr>
            <a:spLocks noGrp="1" noChangeAspect="1"/>
          </p:cNvSpPr>
          <p:nvPr>
            <p:ph type="pic" sz="quarter" idx="31" hasCustomPrompt="1"/>
          </p:nvPr>
        </p:nvSpPr>
        <p:spPr>
          <a:xfrm>
            <a:off x="2724005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82EC2578-E69B-48E7-9A0D-509C4DCB31EA}"/>
              </a:ext>
            </a:extLst>
          </p:cNvPr>
          <p:cNvSpPr>
            <a:spLocks noGrp="1" noChangeAspect="1"/>
          </p:cNvSpPr>
          <p:nvPr>
            <p:ph type="pic" sz="quarter" idx="32" hasCustomPrompt="1"/>
          </p:nvPr>
        </p:nvSpPr>
        <p:spPr>
          <a:xfrm>
            <a:off x="2724005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7D0D4746-2A3C-4008-AE56-9C971679424A}"/>
              </a:ext>
            </a:extLst>
          </p:cNvPr>
          <p:cNvSpPr>
            <a:spLocks noGrp="1" noChangeAspect="1"/>
          </p:cNvSpPr>
          <p:nvPr>
            <p:ph type="pic" sz="quarter" idx="33" hasCustomPrompt="1"/>
          </p:nvPr>
        </p:nvSpPr>
        <p:spPr>
          <a:xfrm>
            <a:off x="2724005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4FCA5D73-8894-4E23-A184-A54E0EC5A0EE}"/>
              </a:ext>
            </a:extLst>
          </p:cNvPr>
          <p:cNvSpPr>
            <a:spLocks noGrp="1" noChangeAspect="1"/>
          </p:cNvSpPr>
          <p:nvPr>
            <p:ph type="pic" sz="quarter" idx="34" hasCustomPrompt="1"/>
          </p:nvPr>
        </p:nvSpPr>
        <p:spPr>
          <a:xfrm>
            <a:off x="4998749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29" name="Picture Placeholder 3">
            <a:extLst>
              <a:ext uri="{FF2B5EF4-FFF2-40B4-BE49-F238E27FC236}">
                <a16:creationId xmlns:a16="http://schemas.microsoft.com/office/drawing/2014/main" id="{6ACBD5C3-DCFC-4051-9545-03D3162522D6}"/>
              </a:ext>
            </a:extLst>
          </p:cNvPr>
          <p:cNvSpPr>
            <a:spLocks noGrp="1" noChangeAspect="1"/>
          </p:cNvSpPr>
          <p:nvPr>
            <p:ph type="pic" sz="quarter" idx="35" hasCustomPrompt="1"/>
          </p:nvPr>
        </p:nvSpPr>
        <p:spPr>
          <a:xfrm>
            <a:off x="4998749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1A66F51C-4B75-45D7-A374-BEBFC16F4525}"/>
              </a:ext>
            </a:extLst>
          </p:cNvPr>
          <p:cNvSpPr>
            <a:spLocks noGrp="1" noChangeAspect="1"/>
          </p:cNvSpPr>
          <p:nvPr>
            <p:ph type="pic" sz="quarter" idx="36" hasCustomPrompt="1"/>
          </p:nvPr>
        </p:nvSpPr>
        <p:spPr>
          <a:xfrm>
            <a:off x="4998749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892A4E8F-9D23-4A3B-9CF3-6E98766A0FC3}"/>
              </a:ext>
            </a:extLst>
          </p:cNvPr>
          <p:cNvSpPr>
            <a:spLocks noGrp="1" noChangeAspect="1"/>
          </p:cNvSpPr>
          <p:nvPr>
            <p:ph type="pic" sz="quarter" idx="37" hasCustomPrompt="1"/>
          </p:nvPr>
        </p:nvSpPr>
        <p:spPr>
          <a:xfrm>
            <a:off x="7273493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F7C4C030-205C-4BEE-910F-AE86E4049451}"/>
              </a:ext>
            </a:extLst>
          </p:cNvPr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7273493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FC23546C-CAC0-4FD6-8C62-1F4F217EC83D}"/>
              </a:ext>
            </a:extLst>
          </p:cNvPr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7273493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084AFB79-D26E-4F3D-8A40-6D479CF90DB0}"/>
              </a:ext>
            </a:extLst>
          </p:cNvPr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9548239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897A7121-A588-46B7-AF5B-FDF684B00905}"/>
              </a:ext>
            </a:extLst>
          </p:cNvPr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9548239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89C5946B-4047-4FB3-AC49-D0F9A0F37808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9548239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CDC077E-289F-4AAE-B3F6-9B318C828A23}"/>
              </a:ext>
            </a:extLst>
          </p:cNvPr>
          <p:cNvSpPr>
            <a:spLocks noGrp="1"/>
          </p:cNvSpPr>
          <p:nvPr>
            <p:ph type="ftr" sz="quarter" idx="43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F4F685A-9886-45FB-8B04-AB8597A67C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Photo Mosaic Layout</a:t>
            </a:r>
          </a:p>
        </p:txBody>
      </p:sp>
    </p:spTree>
    <p:extLst>
      <p:ext uri="{BB962C8B-B14F-4D97-AF65-F5344CB8AC3E}">
        <p14:creationId xmlns:p14="http://schemas.microsoft.com/office/powerpoint/2010/main" val="33507000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ure">
            <a:extLst>
              <a:ext uri="{FF2B5EF4-FFF2-40B4-BE49-F238E27FC236}">
                <a16:creationId xmlns:a16="http://schemas.microsoft.com/office/drawing/2014/main" id="{CE3183E7-4A32-4F91-8AF8-C43C846072F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  <p:sp>
        <p:nvSpPr>
          <p:cNvPr id="9" name="Affiliation">
            <a:extLst>
              <a:ext uri="{FF2B5EF4-FFF2-40B4-BE49-F238E27FC236}">
                <a16:creationId xmlns:a16="http://schemas.microsoft.com/office/drawing/2014/main" id="{39EF96E8-8057-43E5-A862-D955F5E6F2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776819" y="5140292"/>
            <a:ext cx="3248006" cy="4062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Title / Company Name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B25ECA0C-C715-4AD0-9C0F-8BF3F52AAC6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76819" y="4734027"/>
            <a:ext cx="3248006" cy="4062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Name</a:t>
            </a:r>
          </a:p>
        </p:txBody>
      </p:sp>
      <p:sp>
        <p:nvSpPr>
          <p:cNvPr id="2" name="Quote">
            <a:extLst>
              <a:ext uri="{FF2B5EF4-FFF2-40B4-BE49-F238E27FC236}">
                <a16:creationId xmlns:a16="http://schemas.microsoft.com/office/drawing/2014/main" id="{86824591-1B5F-489A-9593-4CEFC4B3EE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76819" y="1454532"/>
            <a:ext cx="8636427" cy="327949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lIns="182880" tIns="91440" rIns="182880" bIns="91440" rtlCol="0" anchor="t">
            <a:noAutofit/>
          </a:bodyPr>
          <a:lstStyle>
            <a:lvl1pPr>
              <a:lnSpc>
                <a:spcPct val="100000"/>
              </a:lnSpc>
              <a:defRPr lang="en-US" dirty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marL="0" lvl="0">
              <a:lnSpc>
                <a:spcPct val="100000"/>
              </a:lnSpc>
            </a:pPr>
            <a:r>
              <a:rPr lang="en-US"/>
              <a:t>Quote layout.</a:t>
            </a:r>
          </a:p>
        </p:txBody>
      </p:sp>
      <p:grpSp>
        <p:nvGrpSpPr>
          <p:cNvPr id="22" name="Quote_Box">
            <a:extLst>
              <a:ext uri="{FF2B5EF4-FFF2-40B4-BE49-F238E27FC236}">
                <a16:creationId xmlns:a16="http://schemas.microsoft.com/office/drawing/2014/main" id="{16644DA2-FD5C-4132-871A-2F4CC3B9C32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27850" y="1454532"/>
            <a:ext cx="648005" cy="648005"/>
            <a:chOff x="1127850" y="1457847"/>
            <a:chExt cx="648005" cy="648005"/>
          </a:xfrm>
        </p:grpSpPr>
        <p:sp>
          <p:nvSpPr>
            <p:cNvPr id="23" name="Quote_Box">
              <a:extLst>
                <a:ext uri="{FF2B5EF4-FFF2-40B4-BE49-F238E27FC236}">
                  <a16:creationId xmlns:a16="http://schemas.microsoft.com/office/drawing/2014/main" id="{F8742923-446F-4F3E-A318-7D750E032EAE}"/>
                </a:ext>
              </a:extLst>
            </p:cNvPr>
            <p:cNvSpPr/>
            <p:nvPr userDrawn="1"/>
          </p:nvSpPr>
          <p:spPr>
            <a:xfrm>
              <a:off x="1127850" y="1457847"/>
              <a:ext cx="648005" cy="648005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 w="19050">
              <a:solidFill>
                <a:schemeClr val="tx1">
                  <a:lumMod val="75000"/>
                  <a:lumOff val="25000"/>
                </a:schemeClr>
              </a:solidFill>
              <a:miter lim="800000"/>
            </a:ln>
          </p:spPr>
          <p:txBody>
            <a:bodyPr vert="horz" wrap="square" lIns="0" tIns="137160" rIns="0" bIns="137160" rtlCol="0" anchor="ctr">
              <a:noAutofit/>
            </a:bodyPr>
            <a:lstStyle/>
            <a:p>
              <a:pPr marL="285750" lvl="0" indent="-285750" algn="ctr" defTabSz="914400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en-US" sz="3200" b="1" i="0" cap="all" spc="60" baseline="0">
                <a:solidFill>
                  <a:schemeClr val="accent2"/>
                </a:solidFill>
                <a:latin typeface="+mj-lt"/>
                <a:ea typeface="+mj-ea"/>
                <a:cs typeface="+mj-cs"/>
              </a:endParaRPr>
            </a:p>
          </p:txBody>
        </p:sp>
        <p:sp>
          <p:nvSpPr>
            <p:cNvPr id="24" name="Icon">
              <a:extLst>
                <a:ext uri="{FF2B5EF4-FFF2-40B4-BE49-F238E27FC236}">
                  <a16:creationId xmlns:a16="http://schemas.microsoft.com/office/drawing/2014/main" id="{64D02E25-A2AE-488C-8479-BFF4596F0CD1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300876" y="1648350"/>
              <a:ext cx="301952" cy="237744"/>
            </a:xfrm>
            <a:custGeom>
              <a:avLst/>
              <a:gdLst>
                <a:gd name="T0" fmla="*/ 214 w 589"/>
                <a:gd name="T1" fmla="*/ 464 h 464"/>
                <a:gd name="T2" fmla="*/ 0 w 589"/>
                <a:gd name="T3" fmla="*/ 464 h 464"/>
                <a:gd name="T4" fmla="*/ 0 w 589"/>
                <a:gd name="T5" fmla="*/ 310 h 464"/>
                <a:gd name="T6" fmla="*/ 17 w 589"/>
                <a:gd name="T7" fmla="*/ 164 h 464"/>
                <a:gd name="T8" fmla="*/ 77 w 589"/>
                <a:gd name="T9" fmla="*/ 67 h 464"/>
                <a:gd name="T10" fmla="*/ 190 w 589"/>
                <a:gd name="T11" fmla="*/ 0 h 464"/>
                <a:gd name="T12" fmla="*/ 232 w 589"/>
                <a:gd name="T13" fmla="*/ 88 h 464"/>
                <a:gd name="T14" fmla="*/ 140 w 589"/>
                <a:gd name="T15" fmla="*/ 148 h 464"/>
                <a:gd name="T16" fmla="*/ 111 w 589"/>
                <a:gd name="T17" fmla="*/ 249 h 464"/>
                <a:gd name="T18" fmla="*/ 214 w 589"/>
                <a:gd name="T19" fmla="*/ 249 h 464"/>
                <a:gd name="T20" fmla="*/ 214 w 589"/>
                <a:gd name="T21" fmla="*/ 464 h 464"/>
                <a:gd name="T22" fmla="*/ 572 w 589"/>
                <a:gd name="T23" fmla="*/ 464 h 464"/>
                <a:gd name="T24" fmla="*/ 358 w 589"/>
                <a:gd name="T25" fmla="*/ 464 h 464"/>
                <a:gd name="T26" fmla="*/ 358 w 589"/>
                <a:gd name="T27" fmla="*/ 310 h 464"/>
                <a:gd name="T28" fmla="*/ 374 w 589"/>
                <a:gd name="T29" fmla="*/ 163 h 464"/>
                <a:gd name="T30" fmla="*/ 435 w 589"/>
                <a:gd name="T31" fmla="*/ 67 h 464"/>
                <a:gd name="T32" fmla="*/ 548 w 589"/>
                <a:gd name="T33" fmla="*/ 0 h 464"/>
                <a:gd name="T34" fmla="*/ 589 w 589"/>
                <a:gd name="T35" fmla="*/ 88 h 464"/>
                <a:gd name="T36" fmla="*/ 498 w 589"/>
                <a:gd name="T37" fmla="*/ 148 h 464"/>
                <a:gd name="T38" fmla="*/ 468 w 589"/>
                <a:gd name="T39" fmla="*/ 249 h 464"/>
                <a:gd name="T40" fmla="*/ 572 w 589"/>
                <a:gd name="T41" fmla="*/ 249 h 464"/>
                <a:gd name="T42" fmla="*/ 572 w 589"/>
                <a:gd name="T43" fmla="*/ 464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89" h="464">
                  <a:moveTo>
                    <a:pt x="214" y="464"/>
                  </a:moveTo>
                  <a:cubicBezTo>
                    <a:pt x="0" y="464"/>
                    <a:pt x="0" y="464"/>
                    <a:pt x="0" y="464"/>
                  </a:cubicBezTo>
                  <a:cubicBezTo>
                    <a:pt x="0" y="310"/>
                    <a:pt x="0" y="310"/>
                    <a:pt x="0" y="310"/>
                  </a:cubicBezTo>
                  <a:cubicBezTo>
                    <a:pt x="0" y="248"/>
                    <a:pt x="6" y="199"/>
                    <a:pt x="17" y="164"/>
                  </a:cubicBezTo>
                  <a:cubicBezTo>
                    <a:pt x="28" y="128"/>
                    <a:pt x="48" y="96"/>
                    <a:pt x="77" y="67"/>
                  </a:cubicBezTo>
                  <a:cubicBezTo>
                    <a:pt x="107" y="39"/>
                    <a:pt x="144" y="16"/>
                    <a:pt x="190" y="0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189" y="103"/>
                    <a:pt x="159" y="123"/>
                    <a:pt x="140" y="148"/>
                  </a:cubicBezTo>
                  <a:cubicBezTo>
                    <a:pt x="122" y="173"/>
                    <a:pt x="112" y="207"/>
                    <a:pt x="111" y="249"/>
                  </a:cubicBezTo>
                  <a:cubicBezTo>
                    <a:pt x="214" y="249"/>
                    <a:pt x="214" y="249"/>
                    <a:pt x="214" y="249"/>
                  </a:cubicBezTo>
                  <a:lnTo>
                    <a:pt x="214" y="464"/>
                  </a:lnTo>
                  <a:close/>
                  <a:moveTo>
                    <a:pt x="572" y="464"/>
                  </a:moveTo>
                  <a:cubicBezTo>
                    <a:pt x="358" y="464"/>
                    <a:pt x="358" y="464"/>
                    <a:pt x="358" y="464"/>
                  </a:cubicBezTo>
                  <a:cubicBezTo>
                    <a:pt x="358" y="310"/>
                    <a:pt x="358" y="310"/>
                    <a:pt x="358" y="310"/>
                  </a:cubicBezTo>
                  <a:cubicBezTo>
                    <a:pt x="358" y="248"/>
                    <a:pt x="363" y="199"/>
                    <a:pt x="374" y="163"/>
                  </a:cubicBezTo>
                  <a:cubicBezTo>
                    <a:pt x="385" y="128"/>
                    <a:pt x="405" y="96"/>
                    <a:pt x="435" y="67"/>
                  </a:cubicBezTo>
                  <a:cubicBezTo>
                    <a:pt x="465" y="39"/>
                    <a:pt x="502" y="16"/>
                    <a:pt x="548" y="0"/>
                  </a:cubicBezTo>
                  <a:cubicBezTo>
                    <a:pt x="589" y="88"/>
                    <a:pt x="589" y="88"/>
                    <a:pt x="589" y="88"/>
                  </a:cubicBezTo>
                  <a:cubicBezTo>
                    <a:pt x="547" y="103"/>
                    <a:pt x="516" y="123"/>
                    <a:pt x="498" y="148"/>
                  </a:cubicBezTo>
                  <a:cubicBezTo>
                    <a:pt x="479" y="173"/>
                    <a:pt x="469" y="207"/>
                    <a:pt x="468" y="249"/>
                  </a:cubicBezTo>
                  <a:cubicBezTo>
                    <a:pt x="572" y="249"/>
                    <a:pt x="572" y="249"/>
                    <a:pt x="572" y="249"/>
                  </a:cubicBezTo>
                  <a:lnTo>
                    <a:pt x="572" y="4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DB22BC-764C-491D-888B-64DE8D2F75F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</a:p>
        </p:txBody>
      </p:sp>
      <p:sp>
        <p:nvSpPr>
          <p:cNvPr id="26" name="Slide Number">
            <a:extLst>
              <a:ext uri="{FF2B5EF4-FFF2-40B4-BE49-F238E27FC236}">
                <a16:creationId xmlns:a16="http://schemas.microsoft.com/office/drawing/2014/main" id="{3BF195AF-9651-4702-B588-B7C0FCFE2DB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27" name="Logo">
            <a:extLst>
              <a:ext uri="{FF2B5EF4-FFF2-40B4-BE49-F238E27FC236}">
                <a16:creationId xmlns:a16="http://schemas.microsoft.com/office/drawing/2014/main" id="{D793CBCB-9D3E-4FB2-9244-94F5FE9EB03D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5CA6D27F-C163-4B78-8C9F-63F81E7A86B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2CF469B8-42CE-43E7-A089-ED56DA2D857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7443782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ure">
            <a:extLst>
              <a:ext uri="{FF2B5EF4-FFF2-40B4-BE49-F238E27FC236}">
                <a16:creationId xmlns:a16="http://schemas.microsoft.com/office/drawing/2014/main" id="{3C95BE6E-96AD-4084-ACEE-7830A9F3263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  <p:sp>
        <p:nvSpPr>
          <p:cNvPr id="104" name="Affiliation">
            <a:extLst>
              <a:ext uri="{FF2B5EF4-FFF2-40B4-BE49-F238E27FC236}">
                <a16:creationId xmlns:a16="http://schemas.microsoft.com/office/drawing/2014/main" id="{705559C5-878A-4763-8DD2-8E2E436F4B4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00383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Title / Company Name</a:t>
            </a:r>
          </a:p>
        </p:txBody>
      </p:sp>
      <p:sp>
        <p:nvSpPr>
          <p:cNvPr id="105" name="Name">
            <a:extLst>
              <a:ext uri="{FF2B5EF4-FFF2-40B4-BE49-F238E27FC236}">
                <a16:creationId xmlns:a16="http://schemas.microsoft.com/office/drawing/2014/main" id="{DF4D4582-8847-4F32-8324-0D3299EDB5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00383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Name</a:t>
            </a:r>
          </a:p>
        </p:txBody>
      </p:sp>
      <p:sp>
        <p:nvSpPr>
          <p:cNvPr id="109" name="Text Placeholder 9">
            <a:extLst>
              <a:ext uri="{FF2B5EF4-FFF2-40B4-BE49-F238E27FC236}">
                <a16:creationId xmlns:a16="http://schemas.microsoft.com/office/drawing/2014/main" id="{4097F5C6-326F-4898-9FB9-3FC9B0D663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300383" y="1630264"/>
            <a:ext cx="507306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/>
              <a:t>Two quote layout.</a:t>
            </a:r>
          </a:p>
        </p:txBody>
      </p:sp>
      <p:grpSp>
        <p:nvGrpSpPr>
          <p:cNvPr id="106" name="Quote_Box">
            <a:extLst>
              <a:ext uri="{FF2B5EF4-FFF2-40B4-BE49-F238E27FC236}">
                <a16:creationId xmlns:a16="http://schemas.microsoft.com/office/drawing/2014/main" id="{ABCF5F15-1C99-4B5F-A62C-06821A1D013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300383" y="1115459"/>
            <a:ext cx="509542" cy="509542"/>
            <a:chOff x="1127850" y="1457847"/>
            <a:chExt cx="648005" cy="648005"/>
          </a:xfrm>
        </p:grpSpPr>
        <p:sp>
          <p:nvSpPr>
            <p:cNvPr id="107" name="Quote_Box">
              <a:extLst>
                <a:ext uri="{FF2B5EF4-FFF2-40B4-BE49-F238E27FC236}">
                  <a16:creationId xmlns:a16="http://schemas.microsoft.com/office/drawing/2014/main" id="{BBFBCDF7-264A-4503-9A4A-3935E8AFA293}"/>
                </a:ext>
              </a:extLst>
            </p:cNvPr>
            <p:cNvSpPr/>
            <p:nvPr userDrawn="1"/>
          </p:nvSpPr>
          <p:spPr>
            <a:xfrm>
              <a:off x="1127850" y="1457847"/>
              <a:ext cx="648005" cy="648005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 w="19050">
              <a:solidFill>
                <a:schemeClr val="tx1">
                  <a:lumMod val="75000"/>
                  <a:lumOff val="25000"/>
                </a:schemeClr>
              </a:solidFill>
              <a:miter lim="800000"/>
            </a:ln>
          </p:spPr>
          <p:txBody>
            <a:bodyPr vert="horz" wrap="square" lIns="0" tIns="137160" rIns="0" bIns="137160" rtlCol="0" anchor="ctr">
              <a:noAutofit/>
            </a:bodyPr>
            <a:lstStyle/>
            <a:p>
              <a:pPr marL="285750" lvl="0" indent="-285750" algn="ctr" defTabSz="914400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en-US" sz="3200" b="1" i="0" cap="all" spc="60" baseline="0">
                <a:solidFill>
                  <a:schemeClr val="accent2"/>
                </a:solidFill>
                <a:latin typeface="+mj-lt"/>
                <a:ea typeface="+mj-ea"/>
                <a:cs typeface="+mj-cs"/>
              </a:endParaRPr>
            </a:p>
          </p:txBody>
        </p:sp>
        <p:sp>
          <p:nvSpPr>
            <p:cNvPr id="108" name="Icon">
              <a:extLst>
                <a:ext uri="{FF2B5EF4-FFF2-40B4-BE49-F238E27FC236}">
                  <a16:creationId xmlns:a16="http://schemas.microsoft.com/office/drawing/2014/main" id="{D21F579F-48BF-483D-8137-FE8CA23EA9A1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300876" y="1648350"/>
              <a:ext cx="301952" cy="237744"/>
            </a:xfrm>
            <a:custGeom>
              <a:avLst/>
              <a:gdLst>
                <a:gd name="T0" fmla="*/ 214 w 589"/>
                <a:gd name="T1" fmla="*/ 464 h 464"/>
                <a:gd name="T2" fmla="*/ 0 w 589"/>
                <a:gd name="T3" fmla="*/ 464 h 464"/>
                <a:gd name="T4" fmla="*/ 0 w 589"/>
                <a:gd name="T5" fmla="*/ 310 h 464"/>
                <a:gd name="T6" fmla="*/ 17 w 589"/>
                <a:gd name="T7" fmla="*/ 164 h 464"/>
                <a:gd name="T8" fmla="*/ 77 w 589"/>
                <a:gd name="T9" fmla="*/ 67 h 464"/>
                <a:gd name="T10" fmla="*/ 190 w 589"/>
                <a:gd name="T11" fmla="*/ 0 h 464"/>
                <a:gd name="T12" fmla="*/ 232 w 589"/>
                <a:gd name="T13" fmla="*/ 88 h 464"/>
                <a:gd name="T14" fmla="*/ 140 w 589"/>
                <a:gd name="T15" fmla="*/ 148 h 464"/>
                <a:gd name="T16" fmla="*/ 111 w 589"/>
                <a:gd name="T17" fmla="*/ 249 h 464"/>
                <a:gd name="T18" fmla="*/ 214 w 589"/>
                <a:gd name="T19" fmla="*/ 249 h 464"/>
                <a:gd name="T20" fmla="*/ 214 w 589"/>
                <a:gd name="T21" fmla="*/ 464 h 464"/>
                <a:gd name="T22" fmla="*/ 572 w 589"/>
                <a:gd name="T23" fmla="*/ 464 h 464"/>
                <a:gd name="T24" fmla="*/ 358 w 589"/>
                <a:gd name="T25" fmla="*/ 464 h 464"/>
                <a:gd name="T26" fmla="*/ 358 w 589"/>
                <a:gd name="T27" fmla="*/ 310 h 464"/>
                <a:gd name="T28" fmla="*/ 374 w 589"/>
                <a:gd name="T29" fmla="*/ 163 h 464"/>
                <a:gd name="T30" fmla="*/ 435 w 589"/>
                <a:gd name="T31" fmla="*/ 67 h 464"/>
                <a:gd name="T32" fmla="*/ 548 w 589"/>
                <a:gd name="T33" fmla="*/ 0 h 464"/>
                <a:gd name="T34" fmla="*/ 589 w 589"/>
                <a:gd name="T35" fmla="*/ 88 h 464"/>
                <a:gd name="T36" fmla="*/ 498 w 589"/>
                <a:gd name="T37" fmla="*/ 148 h 464"/>
                <a:gd name="T38" fmla="*/ 468 w 589"/>
                <a:gd name="T39" fmla="*/ 249 h 464"/>
                <a:gd name="T40" fmla="*/ 572 w 589"/>
                <a:gd name="T41" fmla="*/ 249 h 464"/>
                <a:gd name="T42" fmla="*/ 572 w 589"/>
                <a:gd name="T43" fmla="*/ 464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89" h="464">
                  <a:moveTo>
                    <a:pt x="214" y="464"/>
                  </a:moveTo>
                  <a:cubicBezTo>
                    <a:pt x="0" y="464"/>
                    <a:pt x="0" y="464"/>
                    <a:pt x="0" y="464"/>
                  </a:cubicBezTo>
                  <a:cubicBezTo>
                    <a:pt x="0" y="310"/>
                    <a:pt x="0" y="310"/>
                    <a:pt x="0" y="310"/>
                  </a:cubicBezTo>
                  <a:cubicBezTo>
                    <a:pt x="0" y="248"/>
                    <a:pt x="6" y="199"/>
                    <a:pt x="17" y="164"/>
                  </a:cubicBezTo>
                  <a:cubicBezTo>
                    <a:pt x="28" y="128"/>
                    <a:pt x="48" y="96"/>
                    <a:pt x="77" y="67"/>
                  </a:cubicBezTo>
                  <a:cubicBezTo>
                    <a:pt x="107" y="39"/>
                    <a:pt x="144" y="16"/>
                    <a:pt x="190" y="0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189" y="103"/>
                    <a:pt x="159" y="123"/>
                    <a:pt x="140" y="148"/>
                  </a:cubicBezTo>
                  <a:cubicBezTo>
                    <a:pt x="122" y="173"/>
                    <a:pt x="112" y="207"/>
                    <a:pt x="111" y="249"/>
                  </a:cubicBezTo>
                  <a:cubicBezTo>
                    <a:pt x="214" y="249"/>
                    <a:pt x="214" y="249"/>
                    <a:pt x="214" y="249"/>
                  </a:cubicBezTo>
                  <a:lnTo>
                    <a:pt x="214" y="464"/>
                  </a:lnTo>
                  <a:close/>
                  <a:moveTo>
                    <a:pt x="572" y="464"/>
                  </a:moveTo>
                  <a:cubicBezTo>
                    <a:pt x="358" y="464"/>
                    <a:pt x="358" y="464"/>
                    <a:pt x="358" y="464"/>
                  </a:cubicBezTo>
                  <a:cubicBezTo>
                    <a:pt x="358" y="310"/>
                    <a:pt x="358" y="310"/>
                    <a:pt x="358" y="310"/>
                  </a:cubicBezTo>
                  <a:cubicBezTo>
                    <a:pt x="358" y="248"/>
                    <a:pt x="363" y="199"/>
                    <a:pt x="374" y="163"/>
                  </a:cubicBezTo>
                  <a:cubicBezTo>
                    <a:pt x="385" y="128"/>
                    <a:pt x="405" y="96"/>
                    <a:pt x="435" y="67"/>
                  </a:cubicBezTo>
                  <a:cubicBezTo>
                    <a:pt x="465" y="39"/>
                    <a:pt x="502" y="16"/>
                    <a:pt x="548" y="0"/>
                  </a:cubicBezTo>
                  <a:cubicBezTo>
                    <a:pt x="589" y="88"/>
                    <a:pt x="589" y="88"/>
                    <a:pt x="589" y="88"/>
                  </a:cubicBezTo>
                  <a:cubicBezTo>
                    <a:pt x="547" y="103"/>
                    <a:pt x="516" y="123"/>
                    <a:pt x="498" y="148"/>
                  </a:cubicBezTo>
                  <a:cubicBezTo>
                    <a:pt x="479" y="173"/>
                    <a:pt x="469" y="207"/>
                    <a:pt x="468" y="249"/>
                  </a:cubicBezTo>
                  <a:cubicBezTo>
                    <a:pt x="572" y="249"/>
                    <a:pt x="572" y="249"/>
                    <a:pt x="572" y="249"/>
                  </a:cubicBezTo>
                  <a:lnTo>
                    <a:pt x="572" y="4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</p:grpSp>
      <p:sp>
        <p:nvSpPr>
          <p:cNvPr id="9" name="Affiliation">
            <a:extLst>
              <a:ext uri="{FF2B5EF4-FFF2-40B4-BE49-F238E27FC236}">
                <a16:creationId xmlns:a16="http://schemas.microsoft.com/office/drawing/2014/main" id="{39EF96E8-8057-43E5-A862-D955F5E6F2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7111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Title / Company Name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B25ECA0C-C715-4AD0-9C0F-8BF3F52AAC6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7112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Nam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BDF67FD-4532-4FF0-8E1C-EAC346BA12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7111" y="1630264"/>
            <a:ext cx="506985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/>
              <a:t>Two quote layout.</a:t>
            </a:r>
          </a:p>
        </p:txBody>
      </p:sp>
      <p:grpSp>
        <p:nvGrpSpPr>
          <p:cNvPr id="7" name="Quote_Box">
            <a:extLst>
              <a:ext uri="{FF2B5EF4-FFF2-40B4-BE49-F238E27FC236}">
                <a16:creationId xmlns:a16="http://schemas.microsoft.com/office/drawing/2014/main" id="{9668343F-8517-4F28-87DB-A2A07E8FB7E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7112" y="1115459"/>
            <a:ext cx="509542" cy="509542"/>
            <a:chOff x="1127850" y="1457847"/>
            <a:chExt cx="648005" cy="648005"/>
          </a:xfrm>
        </p:grpSpPr>
        <p:sp>
          <p:nvSpPr>
            <p:cNvPr id="36" name="Quote_Box">
              <a:extLst>
                <a:ext uri="{FF2B5EF4-FFF2-40B4-BE49-F238E27FC236}">
                  <a16:creationId xmlns:a16="http://schemas.microsoft.com/office/drawing/2014/main" id="{42E56F5C-3AEB-4DE3-8888-7B24F0EA4953}"/>
                </a:ext>
              </a:extLst>
            </p:cNvPr>
            <p:cNvSpPr/>
            <p:nvPr userDrawn="1"/>
          </p:nvSpPr>
          <p:spPr>
            <a:xfrm>
              <a:off x="1127850" y="1457847"/>
              <a:ext cx="648005" cy="648005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 w="19050">
              <a:solidFill>
                <a:schemeClr val="tx1">
                  <a:lumMod val="75000"/>
                  <a:lumOff val="25000"/>
                </a:schemeClr>
              </a:solidFill>
              <a:miter lim="800000"/>
            </a:ln>
          </p:spPr>
          <p:txBody>
            <a:bodyPr vert="horz" wrap="square" lIns="0" tIns="137160" rIns="0" bIns="137160" rtlCol="0" anchor="ctr">
              <a:noAutofit/>
            </a:bodyPr>
            <a:lstStyle/>
            <a:p>
              <a:pPr marL="285750" lvl="0" indent="-285750" algn="ctr" defTabSz="914400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en-US" sz="3200" b="1" i="0" cap="all" spc="60" baseline="0">
                <a:solidFill>
                  <a:schemeClr val="accent2"/>
                </a:solidFill>
                <a:latin typeface="+mj-lt"/>
                <a:ea typeface="+mj-ea"/>
                <a:cs typeface="+mj-cs"/>
              </a:endParaRPr>
            </a:p>
          </p:txBody>
        </p:sp>
        <p:sp>
          <p:nvSpPr>
            <p:cNvPr id="6" name="Icon">
              <a:extLst>
                <a:ext uri="{FF2B5EF4-FFF2-40B4-BE49-F238E27FC236}">
                  <a16:creationId xmlns:a16="http://schemas.microsoft.com/office/drawing/2014/main" id="{3DF19E5B-CFF4-45C8-B61A-F63CA122FB99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300876" y="1648350"/>
              <a:ext cx="301952" cy="237744"/>
            </a:xfrm>
            <a:custGeom>
              <a:avLst/>
              <a:gdLst>
                <a:gd name="T0" fmla="*/ 214 w 589"/>
                <a:gd name="T1" fmla="*/ 464 h 464"/>
                <a:gd name="T2" fmla="*/ 0 w 589"/>
                <a:gd name="T3" fmla="*/ 464 h 464"/>
                <a:gd name="T4" fmla="*/ 0 w 589"/>
                <a:gd name="T5" fmla="*/ 310 h 464"/>
                <a:gd name="T6" fmla="*/ 17 w 589"/>
                <a:gd name="T7" fmla="*/ 164 h 464"/>
                <a:gd name="T8" fmla="*/ 77 w 589"/>
                <a:gd name="T9" fmla="*/ 67 h 464"/>
                <a:gd name="T10" fmla="*/ 190 w 589"/>
                <a:gd name="T11" fmla="*/ 0 h 464"/>
                <a:gd name="T12" fmla="*/ 232 w 589"/>
                <a:gd name="T13" fmla="*/ 88 h 464"/>
                <a:gd name="T14" fmla="*/ 140 w 589"/>
                <a:gd name="T15" fmla="*/ 148 h 464"/>
                <a:gd name="T16" fmla="*/ 111 w 589"/>
                <a:gd name="T17" fmla="*/ 249 h 464"/>
                <a:gd name="T18" fmla="*/ 214 w 589"/>
                <a:gd name="T19" fmla="*/ 249 h 464"/>
                <a:gd name="T20" fmla="*/ 214 w 589"/>
                <a:gd name="T21" fmla="*/ 464 h 464"/>
                <a:gd name="T22" fmla="*/ 572 w 589"/>
                <a:gd name="T23" fmla="*/ 464 h 464"/>
                <a:gd name="T24" fmla="*/ 358 w 589"/>
                <a:gd name="T25" fmla="*/ 464 h 464"/>
                <a:gd name="T26" fmla="*/ 358 w 589"/>
                <a:gd name="T27" fmla="*/ 310 h 464"/>
                <a:gd name="T28" fmla="*/ 374 w 589"/>
                <a:gd name="T29" fmla="*/ 163 h 464"/>
                <a:gd name="T30" fmla="*/ 435 w 589"/>
                <a:gd name="T31" fmla="*/ 67 h 464"/>
                <a:gd name="T32" fmla="*/ 548 w 589"/>
                <a:gd name="T33" fmla="*/ 0 h 464"/>
                <a:gd name="T34" fmla="*/ 589 w 589"/>
                <a:gd name="T35" fmla="*/ 88 h 464"/>
                <a:gd name="T36" fmla="*/ 498 w 589"/>
                <a:gd name="T37" fmla="*/ 148 h 464"/>
                <a:gd name="T38" fmla="*/ 468 w 589"/>
                <a:gd name="T39" fmla="*/ 249 h 464"/>
                <a:gd name="T40" fmla="*/ 572 w 589"/>
                <a:gd name="T41" fmla="*/ 249 h 464"/>
                <a:gd name="T42" fmla="*/ 572 w 589"/>
                <a:gd name="T43" fmla="*/ 464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89" h="464">
                  <a:moveTo>
                    <a:pt x="214" y="464"/>
                  </a:moveTo>
                  <a:cubicBezTo>
                    <a:pt x="0" y="464"/>
                    <a:pt x="0" y="464"/>
                    <a:pt x="0" y="464"/>
                  </a:cubicBezTo>
                  <a:cubicBezTo>
                    <a:pt x="0" y="310"/>
                    <a:pt x="0" y="310"/>
                    <a:pt x="0" y="310"/>
                  </a:cubicBezTo>
                  <a:cubicBezTo>
                    <a:pt x="0" y="248"/>
                    <a:pt x="6" y="199"/>
                    <a:pt x="17" y="164"/>
                  </a:cubicBezTo>
                  <a:cubicBezTo>
                    <a:pt x="28" y="128"/>
                    <a:pt x="48" y="96"/>
                    <a:pt x="77" y="67"/>
                  </a:cubicBezTo>
                  <a:cubicBezTo>
                    <a:pt x="107" y="39"/>
                    <a:pt x="144" y="16"/>
                    <a:pt x="190" y="0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189" y="103"/>
                    <a:pt x="159" y="123"/>
                    <a:pt x="140" y="148"/>
                  </a:cubicBezTo>
                  <a:cubicBezTo>
                    <a:pt x="122" y="173"/>
                    <a:pt x="112" y="207"/>
                    <a:pt x="111" y="249"/>
                  </a:cubicBezTo>
                  <a:cubicBezTo>
                    <a:pt x="214" y="249"/>
                    <a:pt x="214" y="249"/>
                    <a:pt x="214" y="249"/>
                  </a:cubicBezTo>
                  <a:lnTo>
                    <a:pt x="214" y="464"/>
                  </a:lnTo>
                  <a:close/>
                  <a:moveTo>
                    <a:pt x="572" y="464"/>
                  </a:moveTo>
                  <a:cubicBezTo>
                    <a:pt x="358" y="464"/>
                    <a:pt x="358" y="464"/>
                    <a:pt x="358" y="464"/>
                  </a:cubicBezTo>
                  <a:cubicBezTo>
                    <a:pt x="358" y="310"/>
                    <a:pt x="358" y="310"/>
                    <a:pt x="358" y="310"/>
                  </a:cubicBezTo>
                  <a:cubicBezTo>
                    <a:pt x="358" y="248"/>
                    <a:pt x="363" y="199"/>
                    <a:pt x="374" y="163"/>
                  </a:cubicBezTo>
                  <a:cubicBezTo>
                    <a:pt x="385" y="128"/>
                    <a:pt x="405" y="96"/>
                    <a:pt x="435" y="67"/>
                  </a:cubicBezTo>
                  <a:cubicBezTo>
                    <a:pt x="465" y="39"/>
                    <a:pt x="502" y="16"/>
                    <a:pt x="548" y="0"/>
                  </a:cubicBezTo>
                  <a:cubicBezTo>
                    <a:pt x="589" y="88"/>
                    <a:pt x="589" y="88"/>
                    <a:pt x="589" y="88"/>
                  </a:cubicBezTo>
                  <a:cubicBezTo>
                    <a:pt x="547" y="103"/>
                    <a:pt x="516" y="123"/>
                    <a:pt x="498" y="148"/>
                  </a:cubicBezTo>
                  <a:cubicBezTo>
                    <a:pt x="479" y="173"/>
                    <a:pt x="469" y="207"/>
                    <a:pt x="468" y="249"/>
                  </a:cubicBezTo>
                  <a:cubicBezTo>
                    <a:pt x="572" y="249"/>
                    <a:pt x="572" y="249"/>
                    <a:pt x="572" y="249"/>
                  </a:cubicBezTo>
                  <a:lnTo>
                    <a:pt x="572" y="4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5EF5EE-3B70-4DA9-9CA4-B61782592FBE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</a:p>
        </p:txBody>
      </p:sp>
      <p:sp>
        <p:nvSpPr>
          <p:cNvPr id="32" name="Slide Number">
            <a:extLst>
              <a:ext uri="{FF2B5EF4-FFF2-40B4-BE49-F238E27FC236}">
                <a16:creationId xmlns:a16="http://schemas.microsoft.com/office/drawing/2014/main" id="{FC713103-2866-494C-A53B-1AB3D87EEA7B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33" name="Logo">
            <a:extLst>
              <a:ext uri="{FF2B5EF4-FFF2-40B4-BE49-F238E27FC236}">
                <a16:creationId xmlns:a16="http://schemas.microsoft.com/office/drawing/2014/main" id="{CB047E31-151D-47D0-80D7-E717E2B69221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34" name="Freeform 5">
              <a:extLst>
                <a:ext uri="{FF2B5EF4-FFF2-40B4-BE49-F238E27FC236}">
                  <a16:creationId xmlns:a16="http://schemas.microsoft.com/office/drawing/2014/main" id="{EEA3A2DC-1140-4EDC-B868-8D42AE958DD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id="{B821CE29-24BB-4400-BA45-0223522B7F7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808422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ure">
            <a:extLst>
              <a:ext uri="{FF2B5EF4-FFF2-40B4-BE49-F238E27FC236}">
                <a16:creationId xmlns:a16="http://schemas.microsoft.com/office/drawing/2014/main" id="{3C95BE6E-96AD-4084-ACEE-7830A9F3263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  <p:sp>
        <p:nvSpPr>
          <p:cNvPr id="110" name="Affiliation">
            <a:extLst>
              <a:ext uri="{FF2B5EF4-FFF2-40B4-BE49-F238E27FC236}">
                <a16:creationId xmlns:a16="http://schemas.microsoft.com/office/drawing/2014/main" id="{03391EED-1D97-47E6-8177-6C95A24711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27843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Title / Company Name</a:t>
            </a:r>
          </a:p>
        </p:txBody>
      </p:sp>
      <p:sp>
        <p:nvSpPr>
          <p:cNvPr id="111" name="Name">
            <a:extLst>
              <a:ext uri="{FF2B5EF4-FFF2-40B4-BE49-F238E27FC236}">
                <a16:creationId xmlns:a16="http://schemas.microsoft.com/office/drawing/2014/main" id="{F8ADE435-12F0-4A39-B8D8-C041290A994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27843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Name</a:t>
            </a:r>
          </a:p>
        </p:txBody>
      </p:sp>
      <p:sp>
        <p:nvSpPr>
          <p:cNvPr id="115" name="Text Placeholder 9">
            <a:extLst>
              <a:ext uri="{FF2B5EF4-FFF2-40B4-BE49-F238E27FC236}">
                <a16:creationId xmlns:a16="http://schemas.microsoft.com/office/drawing/2014/main" id="{F508999A-BE23-41E9-BBE2-1DC9042691E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27842" y="1630264"/>
            <a:ext cx="324612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/>
              <a:t>Three quote layout.</a:t>
            </a:r>
          </a:p>
        </p:txBody>
      </p:sp>
      <p:sp>
        <p:nvSpPr>
          <p:cNvPr id="113" name="Quote_Box">
            <a:extLst>
              <a:ext uri="{FF2B5EF4-FFF2-40B4-BE49-F238E27FC236}">
                <a16:creationId xmlns:a16="http://schemas.microsoft.com/office/drawing/2014/main" id="{63E5C30B-475D-4271-B492-051282960614}"/>
              </a:ext>
            </a:extLst>
          </p:cNvPr>
          <p:cNvSpPr/>
          <p:nvPr userDrawn="1"/>
        </p:nvSpPr>
        <p:spPr>
          <a:xfrm>
            <a:off x="8127844" y="1115459"/>
            <a:ext cx="509542" cy="50954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137160" rIns="0" bIns="137160" rtlCol="0" anchor="ctr">
            <a:noAutofit/>
          </a:bodyPr>
          <a:lstStyle/>
          <a:p>
            <a:pPr marL="285750" lvl="0" indent="-285750" algn="ctr" defTabSz="9144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en-US" sz="3200" b="1" i="0" cap="all" spc="60" baseline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14" name="Icon">
            <a:extLst>
              <a:ext uri="{FF2B5EF4-FFF2-40B4-BE49-F238E27FC236}">
                <a16:creationId xmlns:a16="http://schemas.microsoft.com/office/drawing/2014/main" id="{6207C573-4A51-45AB-8A2D-1B0EC0E0CF7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263899" y="1265256"/>
            <a:ext cx="237432" cy="186944"/>
          </a:xfrm>
          <a:custGeom>
            <a:avLst/>
            <a:gdLst>
              <a:gd name="T0" fmla="*/ 214 w 589"/>
              <a:gd name="T1" fmla="*/ 464 h 464"/>
              <a:gd name="T2" fmla="*/ 0 w 589"/>
              <a:gd name="T3" fmla="*/ 464 h 464"/>
              <a:gd name="T4" fmla="*/ 0 w 589"/>
              <a:gd name="T5" fmla="*/ 310 h 464"/>
              <a:gd name="T6" fmla="*/ 17 w 589"/>
              <a:gd name="T7" fmla="*/ 164 h 464"/>
              <a:gd name="T8" fmla="*/ 77 w 589"/>
              <a:gd name="T9" fmla="*/ 67 h 464"/>
              <a:gd name="T10" fmla="*/ 190 w 589"/>
              <a:gd name="T11" fmla="*/ 0 h 464"/>
              <a:gd name="T12" fmla="*/ 232 w 589"/>
              <a:gd name="T13" fmla="*/ 88 h 464"/>
              <a:gd name="T14" fmla="*/ 140 w 589"/>
              <a:gd name="T15" fmla="*/ 148 h 464"/>
              <a:gd name="T16" fmla="*/ 111 w 589"/>
              <a:gd name="T17" fmla="*/ 249 h 464"/>
              <a:gd name="T18" fmla="*/ 214 w 589"/>
              <a:gd name="T19" fmla="*/ 249 h 464"/>
              <a:gd name="T20" fmla="*/ 214 w 589"/>
              <a:gd name="T21" fmla="*/ 464 h 464"/>
              <a:gd name="T22" fmla="*/ 572 w 589"/>
              <a:gd name="T23" fmla="*/ 464 h 464"/>
              <a:gd name="T24" fmla="*/ 358 w 589"/>
              <a:gd name="T25" fmla="*/ 464 h 464"/>
              <a:gd name="T26" fmla="*/ 358 w 589"/>
              <a:gd name="T27" fmla="*/ 310 h 464"/>
              <a:gd name="T28" fmla="*/ 374 w 589"/>
              <a:gd name="T29" fmla="*/ 163 h 464"/>
              <a:gd name="T30" fmla="*/ 435 w 589"/>
              <a:gd name="T31" fmla="*/ 67 h 464"/>
              <a:gd name="T32" fmla="*/ 548 w 589"/>
              <a:gd name="T33" fmla="*/ 0 h 464"/>
              <a:gd name="T34" fmla="*/ 589 w 589"/>
              <a:gd name="T35" fmla="*/ 88 h 464"/>
              <a:gd name="T36" fmla="*/ 498 w 589"/>
              <a:gd name="T37" fmla="*/ 148 h 464"/>
              <a:gd name="T38" fmla="*/ 468 w 589"/>
              <a:gd name="T39" fmla="*/ 249 h 464"/>
              <a:gd name="T40" fmla="*/ 572 w 589"/>
              <a:gd name="T41" fmla="*/ 249 h 464"/>
              <a:gd name="T42" fmla="*/ 572 w 589"/>
              <a:gd name="T43" fmla="*/ 464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89" h="464">
                <a:moveTo>
                  <a:pt x="214" y="464"/>
                </a:moveTo>
                <a:cubicBezTo>
                  <a:pt x="0" y="464"/>
                  <a:pt x="0" y="464"/>
                  <a:pt x="0" y="464"/>
                </a:cubicBezTo>
                <a:cubicBezTo>
                  <a:pt x="0" y="310"/>
                  <a:pt x="0" y="310"/>
                  <a:pt x="0" y="310"/>
                </a:cubicBezTo>
                <a:cubicBezTo>
                  <a:pt x="0" y="248"/>
                  <a:pt x="6" y="199"/>
                  <a:pt x="17" y="164"/>
                </a:cubicBezTo>
                <a:cubicBezTo>
                  <a:pt x="28" y="128"/>
                  <a:pt x="48" y="96"/>
                  <a:pt x="77" y="67"/>
                </a:cubicBezTo>
                <a:cubicBezTo>
                  <a:pt x="107" y="39"/>
                  <a:pt x="144" y="16"/>
                  <a:pt x="190" y="0"/>
                </a:cubicBezTo>
                <a:cubicBezTo>
                  <a:pt x="232" y="88"/>
                  <a:pt x="232" y="88"/>
                  <a:pt x="232" y="88"/>
                </a:cubicBezTo>
                <a:cubicBezTo>
                  <a:pt x="189" y="103"/>
                  <a:pt x="159" y="123"/>
                  <a:pt x="140" y="148"/>
                </a:cubicBezTo>
                <a:cubicBezTo>
                  <a:pt x="122" y="173"/>
                  <a:pt x="112" y="207"/>
                  <a:pt x="111" y="249"/>
                </a:cubicBezTo>
                <a:cubicBezTo>
                  <a:pt x="214" y="249"/>
                  <a:pt x="214" y="249"/>
                  <a:pt x="214" y="249"/>
                </a:cubicBezTo>
                <a:lnTo>
                  <a:pt x="214" y="464"/>
                </a:lnTo>
                <a:close/>
                <a:moveTo>
                  <a:pt x="572" y="464"/>
                </a:moveTo>
                <a:cubicBezTo>
                  <a:pt x="358" y="464"/>
                  <a:pt x="358" y="464"/>
                  <a:pt x="358" y="464"/>
                </a:cubicBezTo>
                <a:cubicBezTo>
                  <a:pt x="358" y="310"/>
                  <a:pt x="358" y="310"/>
                  <a:pt x="358" y="310"/>
                </a:cubicBezTo>
                <a:cubicBezTo>
                  <a:pt x="358" y="248"/>
                  <a:pt x="363" y="199"/>
                  <a:pt x="374" y="163"/>
                </a:cubicBezTo>
                <a:cubicBezTo>
                  <a:pt x="385" y="128"/>
                  <a:pt x="405" y="96"/>
                  <a:pt x="435" y="67"/>
                </a:cubicBezTo>
                <a:cubicBezTo>
                  <a:pt x="465" y="39"/>
                  <a:pt x="502" y="16"/>
                  <a:pt x="548" y="0"/>
                </a:cubicBezTo>
                <a:cubicBezTo>
                  <a:pt x="589" y="88"/>
                  <a:pt x="589" y="88"/>
                  <a:pt x="589" y="88"/>
                </a:cubicBezTo>
                <a:cubicBezTo>
                  <a:pt x="547" y="103"/>
                  <a:pt x="516" y="123"/>
                  <a:pt x="498" y="148"/>
                </a:cubicBezTo>
                <a:cubicBezTo>
                  <a:pt x="479" y="173"/>
                  <a:pt x="469" y="207"/>
                  <a:pt x="468" y="249"/>
                </a:cubicBezTo>
                <a:cubicBezTo>
                  <a:pt x="572" y="249"/>
                  <a:pt x="572" y="249"/>
                  <a:pt x="572" y="249"/>
                </a:cubicBezTo>
                <a:lnTo>
                  <a:pt x="572" y="4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04" name="Affiliation">
            <a:extLst>
              <a:ext uri="{FF2B5EF4-FFF2-40B4-BE49-F238E27FC236}">
                <a16:creationId xmlns:a16="http://schemas.microsoft.com/office/drawing/2014/main" id="{705559C5-878A-4763-8DD2-8E2E436F4B4A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4472940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Title / Company Name</a:t>
            </a:r>
          </a:p>
        </p:txBody>
      </p:sp>
      <p:sp>
        <p:nvSpPr>
          <p:cNvPr id="105" name="Name">
            <a:extLst>
              <a:ext uri="{FF2B5EF4-FFF2-40B4-BE49-F238E27FC236}">
                <a16:creationId xmlns:a16="http://schemas.microsoft.com/office/drawing/2014/main" id="{DF4D4582-8847-4F32-8324-0D3299EDB5AA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4472940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Name</a:t>
            </a:r>
          </a:p>
        </p:txBody>
      </p:sp>
      <p:sp>
        <p:nvSpPr>
          <p:cNvPr id="109" name="Text Placeholder 9">
            <a:extLst>
              <a:ext uri="{FF2B5EF4-FFF2-40B4-BE49-F238E27FC236}">
                <a16:creationId xmlns:a16="http://schemas.microsoft.com/office/drawing/2014/main" id="{4097F5C6-326F-4898-9FB9-3FC9B0D6639A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4472940" y="1630264"/>
            <a:ext cx="324612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/>
              <a:t>Three quote layout.</a:t>
            </a:r>
          </a:p>
        </p:txBody>
      </p:sp>
      <p:sp>
        <p:nvSpPr>
          <p:cNvPr id="107" name="Quote_Box">
            <a:extLst>
              <a:ext uri="{FF2B5EF4-FFF2-40B4-BE49-F238E27FC236}">
                <a16:creationId xmlns:a16="http://schemas.microsoft.com/office/drawing/2014/main" id="{BBFBCDF7-264A-4503-9A4A-3935E8AFA293}"/>
              </a:ext>
            </a:extLst>
          </p:cNvPr>
          <p:cNvSpPr/>
          <p:nvPr userDrawn="1"/>
        </p:nvSpPr>
        <p:spPr>
          <a:xfrm>
            <a:off x="4471995" y="1115459"/>
            <a:ext cx="509542" cy="50954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137160" rIns="0" bIns="137160" rtlCol="0" anchor="ctr">
            <a:noAutofit/>
          </a:bodyPr>
          <a:lstStyle/>
          <a:p>
            <a:pPr marL="285750" lvl="0" indent="-285750" algn="ctr" defTabSz="9144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en-US" sz="3200" b="1" i="0" cap="all" spc="60" baseline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8" name="Icon">
            <a:extLst>
              <a:ext uri="{FF2B5EF4-FFF2-40B4-BE49-F238E27FC236}">
                <a16:creationId xmlns:a16="http://schemas.microsoft.com/office/drawing/2014/main" id="{D21F579F-48BF-483D-8137-FE8CA23EA9A1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608050" y="1265256"/>
            <a:ext cx="237432" cy="186944"/>
          </a:xfrm>
          <a:custGeom>
            <a:avLst/>
            <a:gdLst>
              <a:gd name="T0" fmla="*/ 214 w 589"/>
              <a:gd name="T1" fmla="*/ 464 h 464"/>
              <a:gd name="T2" fmla="*/ 0 w 589"/>
              <a:gd name="T3" fmla="*/ 464 h 464"/>
              <a:gd name="T4" fmla="*/ 0 w 589"/>
              <a:gd name="T5" fmla="*/ 310 h 464"/>
              <a:gd name="T6" fmla="*/ 17 w 589"/>
              <a:gd name="T7" fmla="*/ 164 h 464"/>
              <a:gd name="T8" fmla="*/ 77 w 589"/>
              <a:gd name="T9" fmla="*/ 67 h 464"/>
              <a:gd name="T10" fmla="*/ 190 w 589"/>
              <a:gd name="T11" fmla="*/ 0 h 464"/>
              <a:gd name="T12" fmla="*/ 232 w 589"/>
              <a:gd name="T13" fmla="*/ 88 h 464"/>
              <a:gd name="T14" fmla="*/ 140 w 589"/>
              <a:gd name="T15" fmla="*/ 148 h 464"/>
              <a:gd name="T16" fmla="*/ 111 w 589"/>
              <a:gd name="T17" fmla="*/ 249 h 464"/>
              <a:gd name="T18" fmla="*/ 214 w 589"/>
              <a:gd name="T19" fmla="*/ 249 h 464"/>
              <a:gd name="T20" fmla="*/ 214 w 589"/>
              <a:gd name="T21" fmla="*/ 464 h 464"/>
              <a:gd name="T22" fmla="*/ 572 w 589"/>
              <a:gd name="T23" fmla="*/ 464 h 464"/>
              <a:gd name="T24" fmla="*/ 358 w 589"/>
              <a:gd name="T25" fmla="*/ 464 h 464"/>
              <a:gd name="T26" fmla="*/ 358 w 589"/>
              <a:gd name="T27" fmla="*/ 310 h 464"/>
              <a:gd name="T28" fmla="*/ 374 w 589"/>
              <a:gd name="T29" fmla="*/ 163 h 464"/>
              <a:gd name="T30" fmla="*/ 435 w 589"/>
              <a:gd name="T31" fmla="*/ 67 h 464"/>
              <a:gd name="T32" fmla="*/ 548 w 589"/>
              <a:gd name="T33" fmla="*/ 0 h 464"/>
              <a:gd name="T34" fmla="*/ 589 w 589"/>
              <a:gd name="T35" fmla="*/ 88 h 464"/>
              <a:gd name="T36" fmla="*/ 498 w 589"/>
              <a:gd name="T37" fmla="*/ 148 h 464"/>
              <a:gd name="T38" fmla="*/ 468 w 589"/>
              <a:gd name="T39" fmla="*/ 249 h 464"/>
              <a:gd name="T40" fmla="*/ 572 w 589"/>
              <a:gd name="T41" fmla="*/ 249 h 464"/>
              <a:gd name="T42" fmla="*/ 572 w 589"/>
              <a:gd name="T43" fmla="*/ 464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89" h="464">
                <a:moveTo>
                  <a:pt x="214" y="464"/>
                </a:moveTo>
                <a:cubicBezTo>
                  <a:pt x="0" y="464"/>
                  <a:pt x="0" y="464"/>
                  <a:pt x="0" y="464"/>
                </a:cubicBezTo>
                <a:cubicBezTo>
                  <a:pt x="0" y="310"/>
                  <a:pt x="0" y="310"/>
                  <a:pt x="0" y="310"/>
                </a:cubicBezTo>
                <a:cubicBezTo>
                  <a:pt x="0" y="248"/>
                  <a:pt x="6" y="199"/>
                  <a:pt x="17" y="164"/>
                </a:cubicBezTo>
                <a:cubicBezTo>
                  <a:pt x="28" y="128"/>
                  <a:pt x="48" y="96"/>
                  <a:pt x="77" y="67"/>
                </a:cubicBezTo>
                <a:cubicBezTo>
                  <a:pt x="107" y="39"/>
                  <a:pt x="144" y="16"/>
                  <a:pt x="190" y="0"/>
                </a:cubicBezTo>
                <a:cubicBezTo>
                  <a:pt x="232" y="88"/>
                  <a:pt x="232" y="88"/>
                  <a:pt x="232" y="88"/>
                </a:cubicBezTo>
                <a:cubicBezTo>
                  <a:pt x="189" y="103"/>
                  <a:pt x="159" y="123"/>
                  <a:pt x="140" y="148"/>
                </a:cubicBezTo>
                <a:cubicBezTo>
                  <a:pt x="122" y="173"/>
                  <a:pt x="112" y="207"/>
                  <a:pt x="111" y="249"/>
                </a:cubicBezTo>
                <a:cubicBezTo>
                  <a:pt x="214" y="249"/>
                  <a:pt x="214" y="249"/>
                  <a:pt x="214" y="249"/>
                </a:cubicBezTo>
                <a:lnTo>
                  <a:pt x="214" y="464"/>
                </a:lnTo>
                <a:close/>
                <a:moveTo>
                  <a:pt x="572" y="464"/>
                </a:moveTo>
                <a:cubicBezTo>
                  <a:pt x="358" y="464"/>
                  <a:pt x="358" y="464"/>
                  <a:pt x="358" y="464"/>
                </a:cubicBezTo>
                <a:cubicBezTo>
                  <a:pt x="358" y="310"/>
                  <a:pt x="358" y="310"/>
                  <a:pt x="358" y="310"/>
                </a:cubicBezTo>
                <a:cubicBezTo>
                  <a:pt x="358" y="248"/>
                  <a:pt x="363" y="199"/>
                  <a:pt x="374" y="163"/>
                </a:cubicBezTo>
                <a:cubicBezTo>
                  <a:pt x="385" y="128"/>
                  <a:pt x="405" y="96"/>
                  <a:pt x="435" y="67"/>
                </a:cubicBezTo>
                <a:cubicBezTo>
                  <a:pt x="465" y="39"/>
                  <a:pt x="502" y="16"/>
                  <a:pt x="548" y="0"/>
                </a:cubicBezTo>
                <a:cubicBezTo>
                  <a:pt x="589" y="88"/>
                  <a:pt x="589" y="88"/>
                  <a:pt x="589" y="88"/>
                </a:cubicBezTo>
                <a:cubicBezTo>
                  <a:pt x="547" y="103"/>
                  <a:pt x="516" y="123"/>
                  <a:pt x="498" y="148"/>
                </a:cubicBezTo>
                <a:cubicBezTo>
                  <a:pt x="479" y="173"/>
                  <a:pt x="469" y="207"/>
                  <a:pt x="468" y="249"/>
                </a:cubicBezTo>
                <a:cubicBezTo>
                  <a:pt x="572" y="249"/>
                  <a:pt x="572" y="249"/>
                  <a:pt x="572" y="249"/>
                </a:cubicBezTo>
                <a:lnTo>
                  <a:pt x="572" y="4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9" name="Affiliation">
            <a:extLst>
              <a:ext uri="{FF2B5EF4-FFF2-40B4-BE49-F238E27FC236}">
                <a16:creationId xmlns:a16="http://schemas.microsoft.com/office/drawing/2014/main" id="{39EF96E8-8057-43E5-A862-D955F5E6F29D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817111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Title / Company Name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B25ECA0C-C715-4AD0-9C0F-8BF3F52AAC6F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817112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Nam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BDF67FD-4532-4FF0-8E1C-EAC346BA1231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17112" y="1630264"/>
            <a:ext cx="324612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/>
              <a:t>Three quote layout.</a:t>
            </a:r>
          </a:p>
        </p:txBody>
      </p:sp>
      <p:sp>
        <p:nvSpPr>
          <p:cNvPr id="36" name="Quote_Box">
            <a:extLst>
              <a:ext uri="{FF2B5EF4-FFF2-40B4-BE49-F238E27FC236}">
                <a16:creationId xmlns:a16="http://schemas.microsoft.com/office/drawing/2014/main" id="{42E56F5C-3AEB-4DE3-8888-7B24F0EA4953}"/>
              </a:ext>
            </a:extLst>
          </p:cNvPr>
          <p:cNvSpPr/>
          <p:nvPr userDrawn="1"/>
        </p:nvSpPr>
        <p:spPr>
          <a:xfrm>
            <a:off x="817112" y="1115459"/>
            <a:ext cx="509542" cy="50954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137160" rIns="0" bIns="137160" rtlCol="0" anchor="ctr">
            <a:noAutofit/>
          </a:bodyPr>
          <a:lstStyle/>
          <a:p>
            <a:pPr marL="285750" lvl="0" indent="-285750" algn="ctr" defTabSz="9144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en-US" sz="3200" b="1" i="0" cap="all" spc="60" baseline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6" name="Icon">
            <a:extLst>
              <a:ext uri="{FF2B5EF4-FFF2-40B4-BE49-F238E27FC236}">
                <a16:creationId xmlns:a16="http://schemas.microsoft.com/office/drawing/2014/main" id="{3DF19E5B-CFF4-45C8-B61A-F63CA122FB9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53167" y="1265256"/>
            <a:ext cx="237432" cy="186944"/>
          </a:xfrm>
          <a:custGeom>
            <a:avLst/>
            <a:gdLst>
              <a:gd name="T0" fmla="*/ 214 w 589"/>
              <a:gd name="T1" fmla="*/ 464 h 464"/>
              <a:gd name="T2" fmla="*/ 0 w 589"/>
              <a:gd name="T3" fmla="*/ 464 h 464"/>
              <a:gd name="T4" fmla="*/ 0 w 589"/>
              <a:gd name="T5" fmla="*/ 310 h 464"/>
              <a:gd name="T6" fmla="*/ 17 w 589"/>
              <a:gd name="T7" fmla="*/ 164 h 464"/>
              <a:gd name="T8" fmla="*/ 77 w 589"/>
              <a:gd name="T9" fmla="*/ 67 h 464"/>
              <a:gd name="T10" fmla="*/ 190 w 589"/>
              <a:gd name="T11" fmla="*/ 0 h 464"/>
              <a:gd name="T12" fmla="*/ 232 w 589"/>
              <a:gd name="T13" fmla="*/ 88 h 464"/>
              <a:gd name="T14" fmla="*/ 140 w 589"/>
              <a:gd name="T15" fmla="*/ 148 h 464"/>
              <a:gd name="T16" fmla="*/ 111 w 589"/>
              <a:gd name="T17" fmla="*/ 249 h 464"/>
              <a:gd name="T18" fmla="*/ 214 w 589"/>
              <a:gd name="T19" fmla="*/ 249 h 464"/>
              <a:gd name="T20" fmla="*/ 214 w 589"/>
              <a:gd name="T21" fmla="*/ 464 h 464"/>
              <a:gd name="T22" fmla="*/ 572 w 589"/>
              <a:gd name="T23" fmla="*/ 464 h 464"/>
              <a:gd name="T24" fmla="*/ 358 w 589"/>
              <a:gd name="T25" fmla="*/ 464 h 464"/>
              <a:gd name="T26" fmla="*/ 358 w 589"/>
              <a:gd name="T27" fmla="*/ 310 h 464"/>
              <a:gd name="T28" fmla="*/ 374 w 589"/>
              <a:gd name="T29" fmla="*/ 163 h 464"/>
              <a:gd name="T30" fmla="*/ 435 w 589"/>
              <a:gd name="T31" fmla="*/ 67 h 464"/>
              <a:gd name="T32" fmla="*/ 548 w 589"/>
              <a:gd name="T33" fmla="*/ 0 h 464"/>
              <a:gd name="T34" fmla="*/ 589 w 589"/>
              <a:gd name="T35" fmla="*/ 88 h 464"/>
              <a:gd name="T36" fmla="*/ 498 w 589"/>
              <a:gd name="T37" fmla="*/ 148 h 464"/>
              <a:gd name="T38" fmla="*/ 468 w 589"/>
              <a:gd name="T39" fmla="*/ 249 h 464"/>
              <a:gd name="T40" fmla="*/ 572 w 589"/>
              <a:gd name="T41" fmla="*/ 249 h 464"/>
              <a:gd name="T42" fmla="*/ 572 w 589"/>
              <a:gd name="T43" fmla="*/ 464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89" h="464">
                <a:moveTo>
                  <a:pt x="214" y="464"/>
                </a:moveTo>
                <a:cubicBezTo>
                  <a:pt x="0" y="464"/>
                  <a:pt x="0" y="464"/>
                  <a:pt x="0" y="464"/>
                </a:cubicBezTo>
                <a:cubicBezTo>
                  <a:pt x="0" y="310"/>
                  <a:pt x="0" y="310"/>
                  <a:pt x="0" y="310"/>
                </a:cubicBezTo>
                <a:cubicBezTo>
                  <a:pt x="0" y="248"/>
                  <a:pt x="6" y="199"/>
                  <a:pt x="17" y="164"/>
                </a:cubicBezTo>
                <a:cubicBezTo>
                  <a:pt x="28" y="128"/>
                  <a:pt x="48" y="96"/>
                  <a:pt x="77" y="67"/>
                </a:cubicBezTo>
                <a:cubicBezTo>
                  <a:pt x="107" y="39"/>
                  <a:pt x="144" y="16"/>
                  <a:pt x="190" y="0"/>
                </a:cubicBezTo>
                <a:cubicBezTo>
                  <a:pt x="232" y="88"/>
                  <a:pt x="232" y="88"/>
                  <a:pt x="232" y="88"/>
                </a:cubicBezTo>
                <a:cubicBezTo>
                  <a:pt x="189" y="103"/>
                  <a:pt x="159" y="123"/>
                  <a:pt x="140" y="148"/>
                </a:cubicBezTo>
                <a:cubicBezTo>
                  <a:pt x="122" y="173"/>
                  <a:pt x="112" y="207"/>
                  <a:pt x="111" y="249"/>
                </a:cubicBezTo>
                <a:cubicBezTo>
                  <a:pt x="214" y="249"/>
                  <a:pt x="214" y="249"/>
                  <a:pt x="214" y="249"/>
                </a:cubicBezTo>
                <a:lnTo>
                  <a:pt x="214" y="464"/>
                </a:lnTo>
                <a:close/>
                <a:moveTo>
                  <a:pt x="572" y="464"/>
                </a:moveTo>
                <a:cubicBezTo>
                  <a:pt x="358" y="464"/>
                  <a:pt x="358" y="464"/>
                  <a:pt x="358" y="464"/>
                </a:cubicBezTo>
                <a:cubicBezTo>
                  <a:pt x="358" y="310"/>
                  <a:pt x="358" y="310"/>
                  <a:pt x="358" y="310"/>
                </a:cubicBezTo>
                <a:cubicBezTo>
                  <a:pt x="358" y="248"/>
                  <a:pt x="363" y="199"/>
                  <a:pt x="374" y="163"/>
                </a:cubicBezTo>
                <a:cubicBezTo>
                  <a:pt x="385" y="128"/>
                  <a:pt x="405" y="96"/>
                  <a:pt x="435" y="67"/>
                </a:cubicBezTo>
                <a:cubicBezTo>
                  <a:pt x="465" y="39"/>
                  <a:pt x="502" y="16"/>
                  <a:pt x="548" y="0"/>
                </a:cubicBezTo>
                <a:cubicBezTo>
                  <a:pt x="589" y="88"/>
                  <a:pt x="589" y="88"/>
                  <a:pt x="589" y="88"/>
                </a:cubicBezTo>
                <a:cubicBezTo>
                  <a:pt x="547" y="103"/>
                  <a:pt x="516" y="123"/>
                  <a:pt x="498" y="148"/>
                </a:cubicBezTo>
                <a:cubicBezTo>
                  <a:pt x="479" y="173"/>
                  <a:pt x="469" y="207"/>
                  <a:pt x="468" y="249"/>
                </a:cubicBezTo>
                <a:cubicBezTo>
                  <a:pt x="572" y="249"/>
                  <a:pt x="572" y="249"/>
                  <a:pt x="572" y="249"/>
                </a:cubicBezTo>
                <a:lnTo>
                  <a:pt x="572" y="4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809D31E-8183-451E-99A7-97F7D20575CB}"/>
              </a:ext>
            </a:extLst>
          </p:cNvPr>
          <p:cNvSpPr>
            <a:spLocks noGrp="1"/>
          </p:cNvSpPr>
          <p:nvPr userDrawn="1">
            <p:ph type="ftr" sz="quarter" idx="27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</a:p>
        </p:txBody>
      </p:sp>
      <p:sp>
        <p:nvSpPr>
          <p:cNvPr id="37" name="Slide Number">
            <a:extLst>
              <a:ext uri="{FF2B5EF4-FFF2-40B4-BE49-F238E27FC236}">
                <a16:creationId xmlns:a16="http://schemas.microsoft.com/office/drawing/2014/main" id="{64FA7F3B-629E-4994-9D8D-543F3F50EDA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38" name="Logo">
            <a:extLst>
              <a:ext uri="{FF2B5EF4-FFF2-40B4-BE49-F238E27FC236}">
                <a16:creationId xmlns:a16="http://schemas.microsoft.com/office/drawing/2014/main" id="{8D803CD8-0215-4AF5-8112-85A0C960BE0A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39" name="Freeform 5">
              <a:extLst>
                <a:ext uri="{FF2B5EF4-FFF2-40B4-BE49-F238E27FC236}">
                  <a16:creationId xmlns:a16="http://schemas.microsoft.com/office/drawing/2014/main" id="{1FE609AA-87CA-4AAA-86B8-3A5F58ED1C2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6">
              <a:extLst>
                <a:ext uri="{FF2B5EF4-FFF2-40B4-BE49-F238E27FC236}">
                  <a16:creationId xmlns:a16="http://schemas.microsoft.com/office/drawing/2014/main" id="{0A9110DB-3204-4593-B863-F03340BAE92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9039216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Statem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ure">
            <a:extLst>
              <a:ext uri="{FF2B5EF4-FFF2-40B4-BE49-F238E27FC236}">
                <a16:creationId xmlns:a16="http://schemas.microsoft.com/office/drawing/2014/main" id="{1E4985FC-C4A1-4C4E-9D8B-E1EF235D555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54FD730-BB81-4C20-B6E9-3E0B048CAC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02" y="1463040"/>
            <a:ext cx="11292840" cy="3785616"/>
          </a:xfrm>
        </p:spPr>
        <p:txBody>
          <a:bodyPr anchor="ctr"/>
          <a:lstStyle>
            <a:lvl1pPr algn="ctr">
              <a:lnSpc>
                <a:spcPct val="90000"/>
              </a:lnSpc>
              <a:defRPr lang="en-US" sz="44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Large statement layout.</a:t>
            </a:r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9D9AE906-1DB3-4285-A68A-0F8B8AC97CA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27E814A0-99D6-40C5-A745-5C658684C0F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17" name="Logo">
            <a:extLst>
              <a:ext uri="{FF2B5EF4-FFF2-40B4-BE49-F238E27FC236}">
                <a16:creationId xmlns:a16="http://schemas.microsoft.com/office/drawing/2014/main" id="{CBA27C52-51B0-46E5-A354-FDA0C0E69C96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0AE504F3-CE1B-4FFA-90CB-0DB30ADE04C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47EEFBCB-3E60-4B8E-989D-3A4D50513D2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365657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1D815A8-0624-4A10-B1F3-C19B0E2331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</a:p>
        </p:txBody>
      </p:sp>
    </p:spTree>
    <p:extLst>
      <p:ext uri="{BB962C8B-B14F-4D97-AF65-F5344CB8AC3E}">
        <p14:creationId xmlns:p14="http://schemas.microsoft.com/office/powerpoint/2010/main" val="16005710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(No Texture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lide Number">
            <a:extLst>
              <a:ext uri="{FF2B5EF4-FFF2-40B4-BE49-F238E27FC236}">
                <a16:creationId xmlns:a16="http://schemas.microsoft.com/office/drawing/2014/main" id="{C1F06F61-6DD2-446B-987D-B384047C087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25" name="Logo">
            <a:extLst>
              <a:ext uri="{FF2B5EF4-FFF2-40B4-BE49-F238E27FC236}">
                <a16:creationId xmlns:a16="http://schemas.microsoft.com/office/drawing/2014/main" id="{56CEE073-8BD3-492B-BD4A-547A71C58B3A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FC4CFB3E-CC68-4065-BA51-35CB29381FC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80F4F0DF-D1F7-485E-8B01-94A5F0B04E4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8FB5C1-1733-49B1-83F7-48444CAFE0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</a:p>
        </p:txBody>
      </p:sp>
    </p:spTree>
    <p:extLst>
      <p:ext uri="{BB962C8B-B14F-4D97-AF65-F5344CB8AC3E}">
        <p14:creationId xmlns:p14="http://schemas.microsoft.com/office/powerpoint/2010/main" val="35428826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ure">
            <a:extLst>
              <a:ext uri="{FF2B5EF4-FFF2-40B4-BE49-F238E27FC236}">
                <a16:creationId xmlns:a16="http://schemas.microsoft.com/office/drawing/2014/main" id="{F2D524AB-E282-4686-B58B-641438DC9BE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BD298B8-A731-40B0-A82D-73E38F5E3C48}"/>
              </a:ext>
            </a:extLst>
          </p:cNvPr>
          <p:cNvSpPr/>
          <p:nvPr userDrawn="1"/>
        </p:nvSpPr>
        <p:spPr>
          <a:xfrm>
            <a:off x="2990868" y="1895475"/>
            <a:ext cx="6496032" cy="2883030"/>
          </a:xfrm>
          <a:prstGeom prst="ellipse">
            <a:avLst/>
          </a:prstGeom>
          <a:gradFill flip="none" rotWithShape="1">
            <a:gsLst>
              <a:gs pos="55000">
                <a:schemeClr val="bg1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8" name="Logo">
            <a:extLst>
              <a:ext uri="{FF2B5EF4-FFF2-40B4-BE49-F238E27FC236}">
                <a16:creationId xmlns:a16="http://schemas.microsoft.com/office/drawing/2014/main" id="{077A18B9-3018-42E0-8877-4E494677B9EC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3757744" y="2807676"/>
            <a:ext cx="4676512" cy="1097280"/>
            <a:chOff x="1231901" y="5359401"/>
            <a:chExt cx="11210925" cy="2630487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66A3BF12-9A81-464B-8E0D-17C715D2D57B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5C73C4CA-E0CE-41EC-A841-98AAB5DA855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9544514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" name="GRID">
            <a:extLst>
              <a:ext uri="{FF2B5EF4-FFF2-40B4-BE49-F238E27FC236}">
                <a16:creationId xmlns:a16="http://schemas.microsoft.com/office/drawing/2014/main" id="{B01B4ED1-11E6-4650-B725-EC73B57E4A24}"/>
              </a:ext>
            </a:extLst>
          </p:cNvPr>
          <p:cNvGrpSpPr/>
          <p:nvPr userDrawn="1"/>
        </p:nvGrpSpPr>
        <p:grpSpPr>
          <a:xfrm>
            <a:off x="0" y="-1"/>
            <a:ext cx="12192000" cy="6858001"/>
            <a:chOff x="0" y="-1"/>
            <a:chExt cx="12192000" cy="6858001"/>
          </a:xfrm>
        </p:grpSpPr>
        <p:grpSp>
          <p:nvGrpSpPr>
            <p:cNvPr id="90" name="5-Columns">
              <a:extLst>
                <a:ext uri="{FF2B5EF4-FFF2-40B4-BE49-F238E27FC236}">
                  <a16:creationId xmlns:a16="http://schemas.microsoft.com/office/drawing/2014/main" id="{7FDABA8A-9F63-4CB3-AD6D-E3081FE4A134}"/>
                </a:ext>
              </a:extLst>
            </p:cNvPr>
            <p:cNvGrpSpPr/>
            <p:nvPr userDrawn="1"/>
          </p:nvGrpSpPr>
          <p:grpSpPr>
            <a:xfrm>
              <a:off x="457196" y="6369995"/>
              <a:ext cx="11284638" cy="66775"/>
              <a:chOff x="457196" y="6369995"/>
              <a:chExt cx="11284638" cy="66775"/>
            </a:xfrm>
            <a:solidFill>
              <a:schemeClr val="accent1">
                <a:lumMod val="40000"/>
                <a:lumOff val="60000"/>
                <a:alpha val="35000"/>
              </a:schemeClr>
            </a:solidFill>
          </p:grpSpPr>
          <p:sp>
            <p:nvSpPr>
              <p:cNvPr id="240" name="Rectangle 239">
                <a:extLst>
                  <a:ext uri="{FF2B5EF4-FFF2-40B4-BE49-F238E27FC236}">
                    <a16:creationId xmlns:a16="http://schemas.microsoft.com/office/drawing/2014/main" id="{EB8CCE06-2803-4BC4-8F52-8C22514AAC9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7196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41" name="Rectangle 240">
                <a:extLst>
                  <a:ext uri="{FF2B5EF4-FFF2-40B4-BE49-F238E27FC236}">
                    <a16:creationId xmlns:a16="http://schemas.microsoft.com/office/drawing/2014/main" id="{EFEE6688-BF23-4A0F-B580-67F2EB80DFB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757020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42" name="Rectangle 241">
                <a:extLst>
                  <a:ext uri="{FF2B5EF4-FFF2-40B4-BE49-F238E27FC236}">
                    <a16:creationId xmlns:a16="http://schemas.microsoft.com/office/drawing/2014/main" id="{0867ECC9-01B8-4FD0-AA00-DB2A4DF6D45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56844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43" name="Rectangle 242">
                <a:extLst>
                  <a:ext uri="{FF2B5EF4-FFF2-40B4-BE49-F238E27FC236}">
                    <a16:creationId xmlns:a16="http://schemas.microsoft.com/office/drawing/2014/main" id="{0F74219B-904B-4014-A041-38C261EB95B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356668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44" name="Rectangle 243">
                <a:extLst>
                  <a:ext uri="{FF2B5EF4-FFF2-40B4-BE49-F238E27FC236}">
                    <a16:creationId xmlns:a16="http://schemas.microsoft.com/office/drawing/2014/main" id="{D37F15D0-DE02-4884-B44D-921B5400706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656491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</p:grpSp>
        <p:grpSp>
          <p:nvGrpSpPr>
            <p:cNvPr id="91" name="Columns">
              <a:extLst>
                <a:ext uri="{FF2B5EF4-FFF2-40B4-BE49-F238E27FC236}">
                  <a16:creationId xmlns:a16="http://schemas.microsoft.com/office/drawing/2014/main" id="{CA147F0F-2720-4D14-BF12-11A0E876C4F5}"/>
                </a:ext>
              </a:extLst>
            </p:cNvPr>
            <p:cNvGrpSpPr/>
            <p:nvPr userDrawn="1"/>
          </p:nvGrpSpPr>
          <p:grpSpPr>
            <a:xfrm>
              <a:off x="450165" y="422030"/>
              <a:ext cx="11291670" cy="5868573"/>
              <a:chOff x="450165" y="422030"/>
              <a:chExt cx="11291670" cy="5868573"/>
            </a:xfrm>
            <a:solidFill>
              <a:schemeClr val="accent1">
                <a:lumMod val="40000"/>
                <a:lumOff val="60000"/>
                <a:alpha val="20000"/>
              </a:schemeClr>
            </a:solidFill>
          </p:grpSpPr>
          <p:sp>
            <p:nvSpPr>
              <p:cNvPr id="228" name="Rectangle 227">
                <a:extLst>
                  <a:ext uri="{FF2B5EF4-FFF2-40B4-BE49-F238E27FC236}">
                    <a16:creationId xmlns:a16="http://schemas.microsoft.com/office/drawing/2014/main" id="{9751839D-CEC1-45BE-9708-DAA3CE5F689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016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29" name="Rectangle 228">
                <a:extLst>
                  <a:ext uri="{FF2B5EF4-FFF2-40B4-BE49-F238E27FC236}">
                    <a16:creationId xmlns:a16="http://schemas.microsoft.com/office/drawing/2014/main" id="{33028180-FC57-41E2-9874-BD949906CC3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40987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0" name="Rectangle 229">
                <a:extLst>
                  <a:ext uri="{FF2B5EF4-FFF2-40B4-BE49-F238E27FC236}">
                    <a16:creationId xmlns:a16="http://schemas.microsoft.com/office/drawing/2014/main" id="{A428A839-7BAF-4979-A0EE-91F40C11FE8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36958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1" name="Rectangle 230">
                <a:extLst>
                  <a:ext uri="{FF2B5EF4-FFF2-40B4-BE49-F238E27FC236}">
                    <a16:creationId xmlns:a16="http://schemas.microsoft.com/office/drawing/2014/main" id="{E8E5B971-2FFF-495D-904E-1754501FCDE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2929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2" name="Rectangle 231">
                <a:extLst>
                  <a:ext uri="{FF2B5EF4-FFF2-40B4-BE49-F238E27FC236}">
                    <a16:creationId xmlns:a16="http://schemas.microsoft.com/office/drawing/2014/main" id="{331A14FD-E4E3-44E8-90C4-63354F192CD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8900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3" name="Rectangle 232">
                <a:extLst>
                  <a:ext uri="{FF2B5EF4-FFF2-40B4-BE49-F238E27FC236}">
                    <a16:creationId xmlns:a16="http://schemas.microsoft.com/office/drawing/2014/main" id="{825AFDC6-95BA-4E36-A7E5-2434D0A29B5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4871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4" name="Rectangle 233">
                <a:extLst>
                  <a:ext uri="{FF2B5EF4-FFF2-40B4-BE49-F238E27FC236}">
                    <a16:creationId xmlns:a16="http://schemas.microsoft.com/office/drawing/2014/main" id="{D716465D-EE0D-4453-A606-A83F187D3CB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20842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5" name="Rectangle 234">
                <a:extLst>
                  <a:ext uri="{FF2B5EF4-FFF2-40B4-BE49-F238E27FC236}">
                    <a16:creationId xmlns:a16="http://schemas.microsoft.com/office/drawing/2014/main" id="{3DC79EC4-363A-4716-8E58-408C7D981B5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6813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6" name="Rectangle 235">
                <a:extLst>
                  <a:ext uri="{FF2B5EF4-FFF2-40B4-BE49-F238E27FC236}">
                    <a16:creationId xmlns:a16="http://schemas.microsoft.com/office/drawing/2014/main" id="{49FF239A-FB3F-48EE-8991-0EE98B0258B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2784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7" name="Rectangle 236">
                <a:extLst>
                  <a:ext uri="{FF2B5EF4-FFF2-40B4-BE49-F238E27FC236}">
                    <a16:creationId xmlns:a16="http://schemas.microsoft.com/office/drawing/2014/main" id="{942B26A2-737C-48BF-B21F-47EABB25FBE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755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8" name="Rectangle 237">
                <a:extLst>
                  <a:ext uri="{FF2B5EF4-FFF2-40B4-BE49-F238E27FC236}">
                    <a16:creationId xmlns:a16="http://schemas.microsoft.com/office/drawing/2014/main" id="{E3076E2C-385C-42BA-8312-8A176F92044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4726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9" name="Rectangle 238">
                <a:extLst>
                  <a:ext uri="{FF2B5EF4-FFF2-40B4-BE49-F238E27FC236}">
                    <a16:creationId xmlns:a16="http://schemas.microsoft.com/office/drawing/2014/main" id="{9B8902CC-F93D-4AE7-A8DC-25DC91A68DF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06977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</p:grpSp>
        <p:grpSp>
          <p:nvGrpSpPr>
            <p:cNvPr id="92" name="Half-Columns">
              <a:extLst>
                <a:ext uri="{FF2B5EF4-FFF2-40B4-BE49-F238E27FC236}">
                  <a16:creationId xmlns:a16="http://schemas.microsoft.com/office/drawing/2014/main" id="{204B2196-46C3-43E9-B91C-0070561E93CD}"/>
                </a:ext>
              </a:extLst>
            </p:cNvPr>
            <p:cNvGrpSpPr/>
            <p:nvPr userDrawn="1"/>
          </p:nvGrpSpPr>
          <p:grpSpPr>
            <a:xfrm>
              <a:off x="817594" y="422030"/>
              <a:ext cx="10556812" cy="5868573"/>
              <a:chOff x="817594" y="422030"/>
              <a:chExt cx="10556812" cy="5868573"/>
            </a:xfrm>
          </p:grpSpPr>
          <p:cxnSp>
            <p:nvCxnSpPr>
              <p:cNvPr id="138" name="Straight Connector 137">
                <a:extLst>
                  <a:ext uri="{FF2B5EF4-FFF2-40B4-BE49-F238E27FC236}">
                    <a16:creationId xmlns:a16="http://schemas.microsoft.com/office/drawing/2014/main" id="{B4C2424A-DAE7-47F5-803E-8B0C3C4C0BE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1759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>
                <a:extLst>
                  <a:ext uri="{FF2B5EF4-FFF2-40B4-BE49-F238E27FC236}">
                    <a16:creationId xmlns:a16="http://schemas.microsoft.com/office/drawing/2014/main" id="{1F10CFA4-C33B-4610-8DB6-2E8EC6F9274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7730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>
                <a:extLst>
                  <a:ext uri="{FF2B5EF4-FFF2-40B4-BE49-F238E27FC236}">
                    <a16:creationId xmlns:a16="http://schemas.microsoft.com/office/drawing/2014/main" id="{EB84BBF9-CCBD-4D1E-9F11-4BC2A4DEC40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73701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Straight Connector 218">
                <a:extLst>
                  <a:ext uri="{FF2B5EF4-FFF2-40B4-BE49-F238E27FC236}">
                    <a16:creationId xmlns:a16="http://schemas.microsoft.com/office/drawing/2014/main" id="{1256665B-0348-4F3E-ACD5-FD9756A20BF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72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0" name="Straight Connector 219">
                <a:extLst>
                  <a:ext uri="{FF2B5EF4-FFF2-40B4-BE49-F238E27FC236}">
                    <a16:creationId xmlns:a16="http://schemas.microsoft.com/office/drawing/2014/main" id="{61724F5A-484B-49DE-9661-FAACDAE7439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65643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1" name="Straight Connector 220">
                <a:extLst>
                  <a:ext uri="{FF2B5EF4-FFF2-40B4-BE49-F238E27FC236}">
                    <a16:creationId xmlns:a16="http://schemas.microsoft.com/office/drawing/2014/main" id="{169D8861-3D05-4F47-A6E6-629CBE006E8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61614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2" name="Straight Connector 221">
                <a:extLst>
                  <a:ext uri="{FF2B5EF4-FFF2-40B4-BE49-F238E27FC236}">
                    <a16:creationId xmlns:a16="http://schemas.microsoft.com/office/drawing/2014/main" id="{2AF0C905-F3F8-4655-B2FF-297DA836C0D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57585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3" name="Straight Connector 222">
                <a:extLst>
                  <a:ext uri="{FF2B5EF4-FFF2-40B4-BE49-F238E27FC236}">
                    <a16:creationId xmlns:a16="http://schemas.microsoft.com/office/drawing/2014/main" id="{25C9DF23-3824-4397-B5F3-CA748E2542C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53556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4" name="Straight Connector 223">
                <a:extLst>
                  <a:ext uri="{FF2B5EF4-FFF2-40B4-BE49-F238E27FC236}">
                    <a16:creationId xmlns:a16="http://schemas.microsoft.com/office/drawing/2014/main" id="{4810292C-F27F-4ADA-A818-ED47B4FDC90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49527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5" name="Straight Connector 224">
                <a:extLst>
                  <a:ext uri="{FF2B5EF4-FFF2-40B4-BE49-F238E27FC236}">
                    <a16:creationId xmlns:a16="http://schemas.microsoft.com/office/drawing/2014/main" id="{0FA31E9E-A1D6-4A1F-A31B-8155BD76393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45498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6" name="Straight Connector 225">
                <a:extLst>
                  <a:ext uri="{FF2B5EF4-FFF2-40B4-BE49-F238E27FC236}">
                    <a16:creationId xmlns:a16="http://schemas.microsoft.com/office/drawing/2014/main" id="{0ADD4CF6-2B17-408C-B1A2-571FACF84D9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41469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7" name="Straight Connector 226">
                <a:extLst>
                  <a:ext uri="{FF2B5EF4-FFF2-40B4-BE49-F238E27FC236}">
                    <a16:creationId xmlns:a16="http://schemas.microsoft.com/office/drawing/2014/main" id="{B1F99D05-254F-46BB-9DB1-7A8273EE2D0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374406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3" name="Minor-Baselines">
              <a:extLst>
                <a:ext uri="{FF2B5EF4-FFF2-40B4-BE49-F238E27FC236}">
                  <a16:creationId xmlns:a16="http://schemas.microsoft.com/office/drawing/2014/main" id="{98E6344D-0E97-46AD-8557-F3655F4C668A}"/>
                </a:ext>
              </a:extLst>
            </p:cNvPr>
            <p:cNvGrpSpPr/>
            <p:nvPr userDrawn="1"/>
          </p:nvGrpSpPr>
          <p:grpSpPr>
            <a:xfrm>
              <a:off x="0" y="594635"/>
              <a:ext cx="12192000" cy="5523360"/>
              <a:chOff x="0" y="594635"/>
              <a:chExt cx="12192000" cy="5523360"/>
            </a:xfrm>
          </p:grpSpPr>
          <p:cxnSp>
            <p:nvCxnSpPr>
              <p:cNvPr id="121" name="Straight Connector 120">
                <a:extLst>
                  <a:ext uri="{FF2B5EF4-FFF2-40B4-BE49-F238E27FC236}">
                    <a16:creationId xmlns:a16="http://schemas.microsoft.com/office/drawing/2014/main" id="{43988CC1-B2D8-45F6-99EB-F0C991951B5A}"/>
                  </a:ext>
                </a:extLst>
              </p:cNvPr>
              <p:cNvCxnSpPr/>
              <p:nvPr userDrawn="1"/>
            </p:nvCxnSpPr>
            <p:spPr>
              <a:xfrm flipH="1">
                <a:off x="0" y="128505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>
                <a:extLst>
                  <a:ext uri="{FF2B5EF4-FFF2-40B4-BE49-F238E27FC236}">
                    <a16:creationId xmlns:a16="http://schemas.microsoft.com/office/drawing/2014/main" id="{FDC16D86-ECC2-46A0-98AD-FF37E7984488}"/>
                  </a:ext>
                </a:extLst>
              </p:cNvPr>
              <p:cNvCxnSpPr/>
              <p:nvPr userDrawn="1"/>
            </p:nvCxnSpPr>
            <p:spPr>
              <a:xfrm flipH="1">
                <a:off x="0" y="163026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>
                <a:extLst>
                  <a:ext uri="{FF2B5EF4-FFF2-40B4-BE49-F238E27FC236}">
                    <a16:creationId xmlns:a16="http://schemas.microsoft.com/office/drawing/2014/main" id="{73384F88-CFC2-485A-85E5-BC9A387E70FA}"/>
                  </a:ext>
                </a:extLst>
              </p:cNvPr>
              <p:cNvCxnSpPr/>
              <p:nvPr userDrawn="1"/>
            </p:nvCxnSpPr>
            <p:spPr>
              <a:xfrm flipH="1">
                <a:off x="0" y="197547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>
                <a:extLst>
                  <a:ext uri="{FF2B5EF4-FFF2-40B4-BE49-F238E27FC236}">
                    <a16:creationId xmlns:a16="http://schemas.microsoft.com/office/drawing/2014/main" id="{A7C0AFBD-D26D-4ADF-A7A4-2C3FA6041EFE}"/>
                  </a:ext>
                </a:extLst>
              </p:cNvPr>
              <p:cNvCxnSpPr/>
              <p:nvPr userDrawn="1"/>
            </p:nvCxnSpPr>
            <p:spPr>
              <a:xfrm flipH="1">
                <a:off x="0" y="232068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>
                <a:extLst>
                  <a:ext uri="{FF2B5EF4-FFF2-40B4-BE49-F238E27FC236}">
                    <a16:creationId xmlns:a16="http://schemas.microsoft.com/office/drawing/2014/main" id="{DB0F5EF3-3B04-4F24-AAF0-42DB116656FA}"/>
                  </a:ext>
                </a:extLst>
              </p:cNvPr>
              <p:cNvCxnSpPr/>
              <p:nvPr userDrawn="1"/>
            </p:nvCxnSpPr>
            <p:spPr>
              <a:xfrm flipH="1">
                <a:off x="0" y="266589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>
                <a:extLst>
                  <a:ext uri="{FF2B5EF4-FFF2-40B4-BE49-F238E27FC236}">
                    <a16:creationId xmlns:a16="http://schemas.microsoft.com/office/drawing/2014/main" id="{BCEB7FB8-D33A-40E7-837C-1FA51F98C0D6}"/>
                  </a:ext>
                </a:extLst>
              </p:cNvPr>
              <p:cNvCxnSpPr/>
              <p:nvPr userDrawn="1"/>
            </p:nvCxnSpPr>
            <p:spPr>
              <a:xfrm flipH="1">
                <a:off x="0" y="301110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>
                <a:extLst>
                  <a:ext uri="{FF2B5EF4-FFF2-40B4-BE49-F238E27FC236}">
                    <a16:creationId xmlns:a16="http://schemas.microsoft.com/office/drawing/2014/main" id="{16B25582-EDFD-47F5-ADFD-07688165CA6C}"/>
                  </a:ext>
                </a:extLst>
              </p:cNvPr>
              <p:cNvCxnSpPr/>
              <p:nvPr userDrawn="1"/>
            </p:nvCxnSpPr>
            <p:spPr>
              <a:xfrm flipH="1">
                <a:off x="0" y="335631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>
                <a:extLst>
                  <a:ext uri="{FF2B5EF4-FFF2-40B4-BE49-F238E27FC236}">
                    <a16:creationId xmlns:a16="http://schemas.microsoft.com/office/drawing/2014/main" id="{D8EBB482-69CF-40F9-8E45-C88546A14A6E}"/>
                  </a:ext>
                </a:extLst>
              </p:cNvPr>
              <p:cNvCxnSpPr/>
              <p:nvPr userDrawn="1"/>
            </p:nvCxnSpPr>
            <p:spPr>
              <a:xfrm flipH="1">
                <a:off x="0" y="370152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>
                <a:extLst>
                  <a:ext uri="{FF2B5EF4-FFF2-40B4-BE49-F238E27FC236}">
                    <a16:creationId xmlns:a16="http://schemas.microsoft.com/office/drawing/2014/main" id="{CE2B10BC-DCC9-40B3-82C4-86EB18E49EEC}"/>
                  </a:ext>
                </a:extLst>
              </p:cNvPr>
              <p:cNvCxnSpPr/>
              <p:nvPr userDrawn="1"/>
            </p:nvCxnSpPr>
            <p:spPr>
              <a:xfrm flipH="1">
                <a:off x="0" y="404673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>
                <a:extLst>
                  <a:ext uri="{FF2B5EF4-FFF2-40B4-BE49-F238E27FC236}">
                    <a16:creationId xmlns:a16="http://schemas.microsoft.com/office/drawing/2014/main" id="{2E5809F8-35AA-4D63-B6C8-44DAA8666405}"/>
                  </a:ext>
                </a:extLst>
              </p:cNvPr>
              <p:cNvCxnSpPr/>
              <p:nvPr userDrawn="1"/>
            </p:nvCxnSpPr>
            <p:spPr>
              <a:xfrm flipH="1">
                <a:off x="0" y="439194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3A46BE4C-4471-46C7-A09E-442332E02E5B}"/>
                  </a:ext>
                </a:extLst>
              </p:cNvPr>
              <p:cNvCxnSpPr/>
              <p:nvPr userDrawn="1"/>
            </p:nvCxnSpPr>
            <p:spPr>
              <a:xfrm flipH="1">
                <a:off x="0" y="473715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>
                <a:extLst>
                  <a:ext uri="{FF2B5EF4-FFF2-40B4-BE49-F238E27FC236}">
                    <a16:creationId xmlns:a16="http://schemas.microsoft.com/office/drawing/2014/main" id="{52072814-59AF-4554-A7A1-BB6D9C0EED50}"/>
                  </a:ext>
                </a:extLst>
              </p:cNvPr>
              <p:cNvCxnSpPr/>
              <p:nvPr userDrawn="1"/>
            </p:nvCxnSpPr>
            <p:spPr>
              <a:xfrm flipH="1">
                <a:off x="0" y="508236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>
                <a:extLst>
                  <a:ext uri="{FF2B5EF4-FFF2-40B4-BE49-F238E27FC236}">
                    <a16:creationId xmlns:a16="http://schemas.microsoft.com/office/drawing/2014/main" id="{C32D6D8F-072E-4B53-B77E-DC633C5DA123}"/>
                  </a:ext>
                </a:extLst>
              </p:cNvPr>
              <p:cNvCxnSpPr/>
              <p:nvPr userDrawn="1"/>
            </p:nvCxnSpPr>
            <p:spPr>
              <a:xfrm flipH="1">
                <a:off x="0" y="542757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>
                <a:extLst>
                  <a:ext uri="{FF2B5EF4-FFF2-40B4-BE49-F238E27FC236}">
                    <a16:creationId xmlns:a16="http://schemas.microsoft.com/office/drawing/2014/main" id="{C36E0E73-A5E6-4E43-A3EA-1688EAC87F2E}"/>
                  </a:ext>
                </a:extLst>
              </p:cNvPr>
              <p:cNvCxnSpPr/>
              <p:nvPr userDrawn="1"/>
            </p:nvCxnSpPr>
            <p:spPr>
              <a:xfrm flipH="1">
                <a:off x="0" y="577278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>
                <a:extLst>
                  <a:ext uri="{FF2B5EF4-FFF2-40B4-BE49-F238E27FC236}">
                    <a16:creationId xmlns:a16="http://schemas.microsoft.com/office/drawing/2014/main" id="{364620E0-5F0B-419B-9A61-2736EE017C27}"/>
                  </a:ext>
                </a:extLst>
              </p:cNvPr>
              <p:cNvCxnSpPr/>
              <p:nvPr userDrawn="1"/>
            </p:nvCxnSpPr>
            <p:spPr>
              <a:xfrm flipH="1">
                <a:off x="0" y="93984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>
                <a:extLst>
                  <a:ext uri="{FF2B5EF4-FFF2-40B4-BE49-F238E27FC236}">
                    <a16:creationId xmlns:a16="http://schemas.microsoft.com/office/drawing/2014/main" id="{3600B6D8-8A6B-4BA6-9922-580E6EF2B022}"/>
                  </a:ext>
                </a:extLst>
              </p:cNvPr>
              <p:cNvCxnSpPr/>
              <p:nvPr userDrawn="1"/>
            </p:nvCxnSpPr>
            <p:spPr>
              <a:xfrm flipH="1">
                <a:off x="0" y="59463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>
                <a:extLst>
                  <a:ext uri="{FF2B5EF4-FFF2-40B4-BE49-F238E27FC236}">
                    <a16:creationId xmlns:a16="http://schemas.microsoft.com/office/drawing/2014/main" id="{779A02F2-15A0-4404-89EA-FD88F74D3901}"/>
                  </a:ext>
                </a:extLst>
              </p:cNvPr>
              <p:cNvCxnSpPr/>
              <p:nvPr userDrawn="1"/>
            </p:nvCxnSpPr>
            <p:spPr>
              <a:xfrm flipH="1">
                <a:off x="0" y="611799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4" name="Major-Baselines">
              <a:extLst>
                <a:ext uri="{FF2B5EF4-FFF2-40B4-BE49-F238E27FC236}">
                  <a16:creationId xmlns:a16="http://schemas.microsoft.com/office/drawing/2014/main" id="{6BF42672-DF70-44F3-B7CA-14A6979B434F}"/>
                </a:ext>
              </a:extLst>
            </p:cNvPr>
            <p:cNvGrpSpPr/>
            <p:nvPr userDrawn="1"/>
          </p:nvGrpSpPr>
          <p:grpSpPr>
            <a:xfrm>
              <a:off x="0" y="767240"/>
              <a:ext cx="12192000" cy="5178150"/>
              <a:chOff x="0" y="767240"/>
              <a:chExt cx="12192000" cy="5178150"/>
            </a:xfrm>
          </p:grpSpPr>
          <p:cxnSp>
            <p:nvCxnSpPr>
              <p:cNvPr id="105" name="Straight Connector 104">
                <a:extLst>
                  <a:ext uri="{FF2B5EF4-FFF2-40B4-BE49-F238E27FC236}">
                    <a16:creationId xmlns:a16="http://schemas.microsoft.com/office/drawing/2014/main" id="{F9CF9ECB-458C-47D9-B4BC-21087E05A585}"/>
                  </a:ext>
                </a:extLst>
              </p:cNvPr>
              <p:cNvCxnSpPr/>
              <p:nvPr/>
            </p:nvCxnSpPr>
            <p:spPr>
              <a:xfrm flipH="1">
                <a:off x="0" y="145766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>
                <a:extLst>
                  <a:ext uri="{FF2B5EF4-FFF2-40B4-BE49-F238E27FC236}">
                    <a16:creationId xmlns:a16="http://schemas.microsoft.com/office/drawing/2014/main" id="{36C496AA-6375-48D7-856A-D734E8E4CC99}"/>
                  </a:ext>
                </a:extLst>
              </p:cNvPr>
              <p:cNvCxnSpPr/>
              <p:nvPr/>
            </p:nvCxnSpPr>
            <p:spPr>
              <a:xfrm flipH="1">
                <a:off x="0" y="180287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>
                <a:extLst>
                  <a:ext uri="{FF2B5EF4-FFF2-40B4-BE49-F238E27FC236}">
                    <a16:creationId xmlns:a16="http://schemas.microsoft.com/office/drawing/2014/main" id="{08EA394B-F758-47C2-8E09-4C30FE4E9810}"/>
                  </a:ext>
                </a:extLst>
              </p:cNvPr>
              <p:cNvCxnSpPr/>
              <p:nvPr/>
            </p:nvCxnSpPr>
            <p:spPr>
              <a:xfrm flipH="1">
                <a:off x="0" y="214808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12C99AEE-DED4-4917-B2D7-796AEC3A484F}"/>
                  </a:ext>
                </a:extLst>
              </p:cNvPr>
              <p:cNvCxnSpPr/>
              <p:nvPr/>
            </p:nvCxnSpPr>
            <p:spPr>
              <a:xfrm flipH="1">
                <a:off x="0" y="249329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>
                <a:extLst>
                  <a:ext uri="{FF2B5EF4-FFF2-40B4-BE49-F238E27FC236}">
                    <a16:creationId xmlns:a16="http://schemas.microsoft.com/office/drawing/2014/main" id="{9C5D77AD-8508-45AD-834F-CE4F2430EA20}"/>
                  </a:ext>
                </a:extLst>
              </p:cNvPr>
              <p:cNvCxnSpPr/>
              <p:nvPr/>
            </p:nvCxnSpPr>
            <p:spPr>
              <a:xfrm flipH="1">
                <a:off x="0" y="283850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>
                <a:extLst>
                  <a:ext uri="{FF2B5EF4-FFF2-40B4-BE49-F238E27FC236}">
                    <a16:creationId xmlns:a16="http://schemas.microsoft.com/office/drawing/2014/main" id="{04E9F12A-A21A-40D7-AC40-55C2530CAAF2}"/>
                  </a:ext>
                </a:extLst>
              </p:cNvPr>
              <p:cNvCxnSpPr/>
              <p:nvPr/>
            </p:nvCxnSpPr>
            <p:spPr>
              <a:xfrm flipH="1">
                <a:off x="0" y="318371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>
                <a:extLst>
                  <a:ext uri="{FF2B5EF4-FFF2-40B4-BE49-F238E27FC236}">
                    <a16:creationId xmlns:a16="http://schemas.microsoft.com/office/drawing/2014/main" id="{E75DAFB1-56AC-4F65-BCF8-63F8201D42F1}"/>
                  </a:ext>
                </a:extLst>
              </p:cNvPr>
              <p:cNvCxnSpPr/>
              <p:nvPr/>
            </p:nvCxnSpPr>
            <p:spPr>
              <a:xfrm flipH="1">
                <a:off x="0" y="352892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>
                <a:extLst>
                  <a:ext uri="{FF2B5EF4-FFF2-40B4-BE49-F238E27FC236}">
                    <a16:creationId xmlns:a16="http://schemas.microsoft.com/office/drawing/2014/main" id="{57C01E0A-93E3-4ED0-B575-9CCBF85B5EB0}"/>
                  </a:ext>
                </a:extLst>
              </p:cNvPr>
              <p:cNvCxnSpPr/>
              <p:nvPr/>
            </p:nvCxnSpPr>
            <p:spPr>
              <a:xfrm flipH="1">
                <a:off x="0" y="387413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>
                <a:extLst>
                  <a:ext uri="{FF2B5EF4-FFF2-40B4-BE49-F238E27FC236}">
                    <a16:creationId xmlns:a16="http://schemas.microsoft.com/office/drawing/2014/main" id="{D5EB4A7E-05D6-4483-9749-137062ABB64E}"/>
                  </a:ext>
                </a:extLst>
              </p:cNvPr>
              <p:cNvCxnSpPr/>
              <p:nvPr/>
            </p:nvCxnSpPr>
            <p:spPr>
              <a:xfrm flipH="1">
                <a:off x="0" y="421934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>
                <a:extLst>
                  <a:ext uri="{FF2B5EF4-FFF2-40B4-BE49-F238E27FC236}">
                    <a16:creationId xmlns:a16="http://schemas.microsoft.com/office/drawing/2014/main" id="{0185FF42-7436-456C-B038-DF7FCC9B86C4}"/>
                  </a:ext>
                </a:extLst>
              </p:cNvPr>
              <p:cNvCxnSpPr/>
              <p:nvPr/>
            </p:nvCxnSpPr>
            <p:spPr>
              <a:xfrm flipH="1">
                <a:off x="0" y="456455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>
                <a:extLst>
                  <a:ext uri="{FF2B5EF4-FFF2-40B4-BE49-F238E27FC236}">
                    <a16:creationId xmlns:a16="http://schemas.microsoft.com/office/drawing/2014/main" id="{F71B5F2E-D126-4777-9BB0-A0FAB3F2CAFD}"/>
                  </a:ext>
                </a:extLst>
              </p:cNvPr>
              <p:cNvCxnSpPr/>
              <p:nvPr/>
            </p:nvCxnSpPr>
            <p:spPr>
              <a:xfrm flipH="1">
                <a:off x="0" y="490976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>
                <a:extLst>
                  <a:ext uri="{FF2B5EF4-FFF2-40B4-BE49-F238E27FC236}">
                    <a16:creationId xmlns:a16="http://schemas.microsoft.com/office/drawing/2014/main" id="{00090F01-D3B0-4CC1-B868-3834E45B2BEF}"/>
                  </a:ext>
                </a:extLst>
              </p:cNvPr>
              <p:cNvCxnSpPr/>
              <p:nvPr/>
            </p:nvCxnSpPr>
            <p:spPr>
              <a:xfrm flipH="1">
                <a:off x="0" y="525497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>
                <a:extLst>
                  <a:ext uri="{FF2B5EF4-FFF2-40B4-BE49-F238E27FC236}">
                    <a16:creationId xmlns:a16="http://schemas.microsoft.com/office/drawing/2014/main" id="{B49511C0-4CC6-4C57-BD16-06DFA68C5177}"/>
                  </a:ext>
                </a:extLst>
              </p:cNvPr>
              <p:cNvCxnSpPr/>
              <p:nvPr/>
            </p:nvCxnSpPr>
            <p:spPr>
              <a:xfrm flipH="1">
                <a:off x="0" y="560018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>
                <a:extLst>
                  <a:ext uri="{FF2B5EF4-FFF2-40B4-BE49-F238E27FC236}">
                    <a16:creationId xmlns:a16="http://schemas.microsoft.com/office/drawing/2014/main" id="{823DBF0E-1AA8-4FBC-BFCF-C35A665C6AAD}"/>
                  </a:ext>
                </a:extLst>
              </p:cNvPr>
              <p:cNvCxnSpPr/>
              <p:nvPr/>
            </p:nvCxnSpPr>
            <p:spPr>
              <a:xfrm flipH="1">
                <a:off x="0" y="594539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>
                <a:extLst>
                  <a:ext uri="{FF2B5EF4-FFF2-40B4-BE49-F238E27FC236}">
                    <a16:creationId xmlns:a16="http://schemas.microsoft.com/office/drawing/2014/main" id="{16F927AE-A157-4A95-BD1F-5D4003848AE5}"/>
                  </a:ext>
                </a:extLst>
              </p:cNvPr>
              <p:cNvCxnSpPr/>
              <p:nvPr/>
            </p:nvCxnSpPr>
            <p:spPr>
              <a:xfrm flipH="1">
                <a:off x="0" y="111245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>
                <a:extLst>
                  <a:ext uri="{FF2B5EF4-FFF2-40B4-BE49-F238E27FC236}">
                    <a16:creationId xmlns:a16="http://schemas.microsoft.com/office/drawing/2014/main" id="{AF1893BF-3A5C-45A7-80A6-F95888D2C2E9}"/>
                  </a:ext>
                </a:extLst>
              </p:cNvPr>
              <p:cNvCxnSpPr/>
              <p:nvPr/>
            </p:nvCxnSpPr>
            <p:spPr>
              <a:xfrm flipH="1">
                <a:off x="0" y="76724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5" name="Margins">
              <a:extLst>
                <a:ext uri="{FF2B5EF4-FFF2-40B4-BE49-F238E27FC236}">
                  <a16:creationId xmlns:a16="http://schemas.microsoft.com/office/drawing/2014/main" id="{1987983C-C65D-47F1-8B52-9BB74C6156DF}"/>
                </a:ext>
              </a:extLst>
            </p:cNvPr>
            <p:cNvGrpSpPr/>
            <p:nvPr userDrawn="1"/>
          </p:nvGrpSpPr>
          <p:grpSpPr>
            <a:xfrm>
              <a:off x="0" y="-1"/>
              <a:ext cx="12192000" cy="6858001"/>
              <a:chOff x="0" y="-1"/>
              <a:chExt cx="12192000" cy="6858001"/>
            </a:xfrm>
          </p:grpSpPr>
          <p:grpSp>
            <p:nvGrpSpPr>
              <p:cNvPr id="96" name="Group 95">
                <a:extLst>
                  <a:ext uri="{FF2B5EF4-FFF2-40B4-BE49-F238E27FC236}">
                    <a16:creationId xmlns:a16="http://schemas.microsoft.com/office/drawing/2014/main" id="{2D64F71A-57E0-44C6-B31D-7B42B82DD2CE}"/>
                  </a:ext>
                </a:extLst>
              </p:cNvPr>
              <p:cNvGrpSpPr/>
              <p:nvPr userDrawn="1"/>
            </p:nvGrpSpPr>
            <p:grpSpPr>
              <a:xfrm>
                <a:off x="450166" y="-1"/>
                <a:ext cx="11291668" cy="6858001"/>
                <a:chOff x="450166" y="-295422"/>
                <a:chExt cx="11291668" cy="7491047"/>
              </a:xfrm>
            </p:grpSpPr>
            <p:cxnSp>
              <p:nvCxnSpPr>
                <p:cNvPr id="103" name="Straight Connector 102">
                  <a:extLst>
                    <a:ext uri="{FF2B5EF4-FFF2-40B4-BE49-F238E27FC236}">
                      <a16:creationId xmlns:a16="http://schemas.microsoft.com/office/drawing/2014/main" id="{7D8CFD01-2438-4217-AA3E-AC3BA160D143}"/>
                    </a:ext>
                  </a:extLst>
                </p:cNvPr>
                <p:cNvCxnSpPr/>
                <p:nvPr/>
              </p:nvCxnSpPr>
              <p:spPr>
                <a:xfrm>
                  <a:off x="450166" y="-295422"/>
                  <a:ext cx="0" cy="7491047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4" name="Straight Connector 103">
                  <a:extLst>
                    <a:ext uri="{FF2B5EF4-FFF2-40B4-BE49-F238E27FC236}">
                      <a16:creationId xmlns:a16="http://schemas.microsoft.com/office/drawing/2014/main" id="{09FDB0BB-10D1-469E-A843-451C93653F0B}"/>
                    </a:ext>
                  </a:extLst>
                </p:cNvPr>
                <p:cNvCxnSpPr/>
                <p:nvPr/>
              </p:nvCxnSpPr>
              <p:spPr>
                <a:xfrm>
                  <a:off x="11741834" y="-295422"/>
                  <a:ext cx="0" cy="7491047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7" name="Group 96">
                <a:extLst>
                  <a:ext uri="{FF2B5EF4-FFF2-40B4-BE49-F238E27FC236}">
                    <a16:creationId xmlns:a16="http://schemas.microsoft.com/office/drawing/2014/main" id="{23DA59C4-54B1-44E7-8615-E9D3B756CD6D}"/>
                  </a:ext>
                </a:extLst>
              </p:cNvPr>
              <p:cNvGrpSpPr/>
              <p:nvPr userDrawn="1"/>
            </p:nvGrpSpPr>
            <p:grpSpPr>
              <a:xfrm>
                <a:off x="0" y="422030"/>
                <a:ext cx="12192000" cy="5868573"/>
                <a:chOff x="0" y="422030"/>
                <a:chExt cx="12192000" cy="5868573"/>
              </a:xfrm>
            </p:grpSpPr>
            <p:cxnSp>
              <p:nvCxnSpPr>
                <p:cNvPr id="101" name="Straight Connector 100">
                  <a:extLst>
                    <a:ext uri="{FF2B5EF4-FFF2-40B4-BE49-F238E27FC236}">
                      <a16:creationId xmlns:a16="http://schemas.microsoft.com/office/drawing/2014/main" id="{25110C17-BFAC-419F-917B-35541EA792AD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0" y="422030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2" name="Straight Connector 101">
                  <a:extLst>
                    <a:ext uri="{FF2B5EF4-FFF2-40B4-BE49-F238E27FC236}">
                      <a16:creationId xmlns:a16="http://schemas.microsoft.com/office/drawing/2014/main" id="{C9E58F6F-92A5-473B-9FED-3D90ECE09E5D}"/>
                    </a:ext>
                  </a:extLst>
                </p:cNvPr>
                <p:cNvCxnSpPr/>
                <p:nvPr userDrawn="1"/>
              </p:nvCxnSpPr>
              <p:spPr>
                <a:xfrm>
                  <a:off x="0" y="6290603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8" name="Group 97">
                <a:extLst>
                  <a:ext uri="{FF2B5EF4-FFF2-40B4-BE49-F238E27FC236}">
                    <a16:creationId xmlns:a16="http://schemas.microsoft.com/office/drawing/2014/main" id="{D0BD5319-1193-4438-BF01-B64CF6D0D212}"/>
                  </a:ext>
                </a:extLst>
              </p:cNvPr>
              <p:cNvGrpSpPr/>
              <p:nvPr userDrawn="1"/>
            </p:nvGrpSpPr>
            <p:grpSpPr>
              <a:xfrm>
                <a:off x="0" y="1457660"/>
                <a:ext cx="12192000" cy="345210"/>
                <a:chOff x="0" y="1457660"/>
                <a:chExt cx="12192000" cy="345210"/>
              </a:xfrm>
            </p:grpSpPr>
            <p:cxnSp>
              <p:nvCxnSpPr>
                <p:cNvPr id="99" name="Straight Connector 98">
                  <a:extLst>
                    <a:ext uri="{FF2B5EF4-FFF2-40B4-BE49-F238E27FC236}">
                      <a16:creationId xmlns:a16="http://schemas.microsoft.com/office/drawing/2014/main" id="{ED443DF1-4231-4D92-8DA5-C1F4B954AFC4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0" y="1457660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" name="Straight Connector 99">
                  <a:extLst>
                    <a:ext uri="{FF2B5EF4-FFF2-40B4-BE49-F238E27FC236}">
                      <a16:creationId xmlns:a16="http://schemas.microsoft.com/office/drawing/2014/main" id="{14C68D45-D4C2-497B-A9FF-6ADE11C36C5D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0" y="1802870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</p:spTree>
    <p:extLst>
      <p:ext uri="{BB962C8B-B14F-4D97-AF65-F5344CB8AC3E}">
        <p14:creationId xmlns:p14="http://schemas.microsoft.com/office/powerpoint/2010/main" val="31397514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ure">
            <a:extLst>
              <a:ext uri="{FF2B5EF4-FFF2-40B4-BE49-F238E27FC236}">
                <a16:creationId xmlns:a16="http://schemas.microsoft.com/office/drawing/2014/main" id="{B43DC9BF-B86E-41C3-9025-257603C6C46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03C20BBD-F2FD-4A4D-B556-572D7207BCE8}"/>
              </a:ext>
            </a:extLst>
          </p:cNvPr>
          <p:cNvSpPr/>
          <p:nvPr userDrawn="1"/>
        </p:nvSpPr>
        <p:spPr>
          <a:xfrm>
            <a:off x="3555406" y="4109059"/>
            <a:ext cx="5169494" cy="1434491"/>
          </a:xfrm>
          <a:prstGeom prst="ellipse">
            <a:avLst/>
          </a:prstGeom>
          <a:gradFill flip="none" rotWithShape="1">
            <a:gsLst>
              <a:gs pos="55000">
                <a:schemeClr val="bg1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34" name="Logo">
            <a:extLst>
              <a:ext uri="{FF2B5EF4-FFF2-40B4-BE49-F238E27FC236}">
                <a16:creationId xmlns:a16="http://schemas.microsoft.com/office/drawing/2014/main" id="{E3F269C9-4FA8-4772-AD37-31EE93FFE599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258125" y="4703638"/>
            <a:ext cx="1675750" cy="393192"/>
            <a:chOff x="1231901" y="5359401"/>
            <a:chExt cx="11210925" cy="2630487"/>
          </a:xfrm>
        </p:grpSpPr>
        <p:sp>
          <p:nvSpPr>
            <p:cNvPr id="35" name="Freeform 5">
              <a:extLst>
                <a:ext uri="{FF2B5EF4-FFF2-40B4-BE49-F238E27FC236}">
                  <a16:creationId xmlns:a16="http://schemas.microsoft.com/office/drawing/2014/main" id="{09D9C9E1-25E5-483A-B7BC-660D3D3BFE4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6">
              <a:extLst>
                <a:ext uri="{FF2B5EF4-FFF2-40B4-BE49-F238E27FC236}">
                  <a16:creationId xmlns:a16="http://schemas.microsoft.com/office/drawing/2014/main" id="{98453535-0FA3-4BC2-896D-B75809B1977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7" name="Ruler">
            <a:extLst>
              <a:ext uri="{FF2B5EF4-FFF2-40B4-BE49-F238E27FC236}">
                <a16:creationId xmlns:a16="http://schemas.microsoft.com/office/drawing/2014/main" id="{70E5BD5C-60C7-4101-99EB-CFC9224AD7B1}"/>
              </a:ext>
            </a:extLst>
          </p:cNvPr>
          <p:cNvGrpSpPr/>
          <p:nvPr userDrawn="1"/>
        </p:nvGrpSpPr>
        <p:grpSpPr>
          <a:xfrm>
            <a:off x="5273041" y="4219340"/>
            <a:ext cx="1645920" cy="339946"/>
            <a:chOff x="5273041" y="4219340"/>
            <a:chExt cx="1645920" cy="339946"/>
          </a:xfrm>
        </p:grpSpPr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2B101E02-F838-4187-B559-8AAE85AB8E2C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3" y="4219340"/>
              <a:ext cx="0" cy="33994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B704FBA9-913D-4B32-AC77-21FE53C07630}"/>
                </a:ext>
              </a:extLst>
            </p:cNvPr>
            <p:cNvCxnSpPr/>
            <p:nvPr/>
          </p:nvCxnSpPr>
          <p:spPr>
            <a:xfrm>
              <a:off x="527304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F7620BDF-DEE5-4359-9427-F80C2D3B2F2A}"/>
                </a:ext>
              </a:extLst>
            </p:cNvPr>
            <p:cNvCxnSpPr/>
            <p:nvPr/>
          </p:nvCxnSpPr>
          <p:spPr>
            <a:xfrm>
              <a:off x="5364485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609FFEF8-C551-442A-BFBE-82B27BAA70D4}"/>
                </a:ext>
              </a:extLst>
            </p:cNvPr>
            <p:cNvCxnSpPr/>
            <p:nvPr/>
          </p:nvCxnSpPr>
          <p:spPr>
            <a:xfrm>
              <a:off x="545592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030E7191-0FEE-4B6B-AAE0-7E6505AAFF96}"/>
                </a:ext>
              </a:extLst>
            </p:cNvPr>
            <p:cNvCxnSpPr/>
            <p:nvPr/>
          </p:nvCxnSpPr>
          <p:spPr>
            <a:xfrm>
              <a:off x="5547364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E0B20760-2C74-490B-8779-0A3CEC331376}"/>
                </a:ext>
              </a:extLst>
            </p:cNvPr>
            <p:cNvCxnSpPr/>
            <p:nvPr/>
          </p:nvCxnSpPr>
          <p:spPr>
            <a:xfrm>
              <a:off x="563880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A2C7CD8C-10E9-4C4D-AF46-8EAA7E7B84D7}"/>
                </a:ext>
              </a:extLst>
            </p:cNvPr>
            <p:cNvCxnSpPr/>
            <p:nvPr/>
          </p:nvCxnSpPr>
          <p:spPr>
            <a:xfrm>
              <a:off x="5730244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1A9DBD41-B998-4B1C-A2AD-746277984ECF}"/>
                </a:ext>
              </a:extLst>
            </p:cNvPr>
            <p:cNvCxnSpPr/>
            <p:nvPr/>
          </p:nvCxnSpPr>
          <p:spPr>
            <a:xfrm>
              <a:off x="582168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80011DFB-F9A6-4F90-A169-06A40F2D4491}"/>
                </a:ext>
              </a:extLst>
            </p:cNvPr>
            <p:cNvCxnSpPr/>
            <p:nvPr/>
          </p:nvCxnSpPr>
          <p:spPr>
            <a:xfrm>
              <a:off x="5913123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1FCB742D-4AAE-446A-95AF-D86CE705B38D}"/>
                </a:ext>
              </a:extLst>
            </p:cNvPr>
            <p:cNvCxnSpPr/>
            <p:nvPr/>
          </p:nvCxnSpPr>
          <p:spPr>
            <a:xfrm>
              <a:off x="600456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A3622024-A6FB-4862-AAA9-378E17CB2F65}"/>
                </a:ext>
              </a:extLst>
            </p:cNvPr>
            <p:cNvCxnSpPr/>
            <p:nvPr/>
          </p:nvCxnSpPr>
          <p:spPr>
            <a:xfrm>
              <a:off x="618744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0DDF8BE4-F228-4207-9F16-38714201F036}"/>
                </a:ext>
              </a:extLst>
            </p:cNvPr>
            <p:cNvCxnSpPr/>
            <p:nvPr/>
          </p:nvCxnSpPr>
          <p:spPr>
            <a:xfrm>
              <a:off x="627888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0F0D7718-987E-4A31-88D8-257BD9D16439}"/>
                </a:ext>
              </a:extLst>
            </p:cNvPr>
            <p:cNvCxnSpPr/>
            <p:nvPr/>
          </p:nvCxnSpPr>
          <p:spPr>
            <a:xfrm>
              <a:off x="637032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E1895AC8-2DE9-4C57-9175-D6619461AA6A}"/>
                </a:ext>
              </a:extLst>
            </p:cNvPr>
            <p:cNvCxnSpPr/>
            <p:nvPr/>
          </p:nvCxnSpPr>
          <p:spPr>
            <a:xfrm>
              <a:off x="6461762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615B7B8D-36D9-46DB-BDD6-8D7FCA31766A}"/>
                </a:ext>
              </a:extLst>
            </p:cNvPr>
            <p:cNvCxnSpPr/>
            <p:nvPr/>
          </p:nvCxnSpPr>
          <p:spPr>
            <a:xfrm>
              <a:off x="655320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381AF8FD-CBB7-47C3-92D4-68F412B850C3}"/>
                </a:ext>
              </a:extLst>
            </p:cNvPr>
            <p:cNvCxnSpPr/>
            <p:nvPr/>
          </p:nvCxnSpPr>
          <p:spPr>
            <a:xfrm>
              <a:off x="664464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075397F3-9A79-4A57-9C34-2D06B47E2F34}"/>
                </a:ext>
              </a:extLst>
            </p:cNvPr>
            <p:cNvCxnSpPr/>
            <p:nvPr/>
          </p:nvCxnSpPr>
          <p:spPr>
            <a:xfrm>
              <a:off x="673608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E17F042D-D6EC-49C7-8409-4FB587063A25}"/>
                </a:ext>
              </a:extLst>
            </p:cNvPr>
            <p:cNvCxnSpPr/>
            <p:nvPr/>
          </p:nvCxnSpPr>
          <p:spPr>
            <a:xfrm>
              <a:off x="6827521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7F47560C-6D83-4B1E-A656-E798CCE71DB3}"/>
                </a:ext>
              </a:extLst>
            </p:cNvPr>
            <p:cNvCxnSpPr/>
            <p:nvPr/>
          </p:nvCxnSpPr>
          <p:spPr>
            <a:xfrm>
              <a:off x="691896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Speaker Name">
            <a:extLst>
              <a:ext uri="{FF2B5EF4-FFF2-40B4-BE49-F238E27FC236}">
                <a16:creationId xmlns:a16="http://schemas.microsoft.com/office/drawing/2014/main" id="{0D03EEEE-B07B-48F4-B55F-C322BA4FCC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29295" y="2953512"/>
            <a:ext cx="4020340" cy="402336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600" b="0" i="1" cap="none" spc="6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Speaker Name</a:t>
            </a:r>
          </a:p>
        </p:txBody>
      </p:sp>
      <p:sp>
        <p:nvSpPr>
          <p:cNvPr id="58" name="Text Placeholder 128">
            <a:extLst>
              <a:ext uri="{FF2B5EF4-FFF2-40B4-BE49-F238E27FC236}">
                <a16:creationId xmlns:a16="http://schemas.microsoft.com/office/drawing/2014/main" id="{02F3F674-6E3E-4B4F-A461-192B2E1A3EA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49638" y="2953512"/>
            <a:ext cx="1513062" cy="402336"/>
          </a:xfr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600" b="1" i="1" cap="all" spc="6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 algn="ctr">
              <a:spcBef>
                <a:spcPct val="0"/>
              </a:spcBef>
            </a:pPr>
            <a:r>
              <a:rPr lang="en-US"/>
              <a:t>YYYY.MM.DD</a:t>
            </a:r>
          </a:p>
        </p:txBody>
      </p:sp>
      <p:sp>
        <p:nvSpPr>
          <p:cNvPr id="59" name="Speaker Title">
            <a:extLst>
              <a:ext uri="{FF2B5EF4-FFF2-40B4-BE49-F238E27FC236}">
                <a16:creationId xmlns:a16="http://schemas.microsoft.com/office/drawing/2014/main" id="{058F1415-E1D6-47DA-A185-76C3FC2257D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29295" y="3355848"/>
            <a:ext cx="5533405" cy="402336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6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Speaker Title / Company Name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5B3A83E2-FA5C-4BC9-8B76-2DE81BEB613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3329295" y="2440333"/>
            <a:ext cx="5533406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 algn="ctr">
              <a:buNone/>
              <a:defRPr lang="en-US" sz="1600" b="1" cap="all" spc="300" baseline="0" dirty="0">
                <a:solidFill>
                  <a:schemeClr val="bg1"/>
                </a:solidFill>
              </a:defRPr>
            </a:lvl1pPr>
          </a:lstStyle>
          <a:p>
            <a:pPr marL="182880" lvl="0" indent="-182880"/>
            <a:r>
              <a:rPr lang="en-US"/>
              <a:t>subtitl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14F1EC20-D177-4F9A-AF02-5ABB483C64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09700" y="935570"/>
            <a:ext cx="9372600" cy="1335024"/>
          </a:xfrm>
        </p:spPr>
        <p:txBody>
          <a:bodyPr anchor="b"/>
          <a:lstStyle>
            <a:lvl1pPr algn="ctr">
              <a:lnSpc>
                <a:spcPct val="90000"/>
              </a:lnSpc>
              <a:defRPr sz="4400"/>
            </a:lvl1pPr>
          </a:lstStyle>
          <a:p>
            <a:r>
              <a:rPr lang="en-US"/>
              <a:t>Title Slide</a:t>
            </a:r>
            <a:br>
              <a:rPr lang="en-US"/>
            </a:br>
            <a:r>
              <a:rPr lang="en-US"/>
              <a:t>with Subtitle Layou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F0DA467-6522-4105-A238-D69A42AC0280}"/>
              </a:ext>
            </a:extLst>
          </p:cNvPr>
          <p:cNvSpPr/>
          <p:nvPr userDrawn="1"/>
        </p:nvSpPr>
        <p:spPr>
          <a:xfrm>
            <a:off x="0" y="0"/>
            <a:ext cx="12192000" cy="14161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vert="horz" lIns="137160" tIns="73152" rIns="137160" bIns="73152" rtlCol="0" anchor="ctr">
            <a:noAutofit/>
          </a:bodyPr>
          <a:lstStyle/>
          <a:p>
            <a:pPr marL="182880" lvl="0" indent="-182880" algn="ctr" defTabSz="914400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</a:pPr>
            <a:endParaRPr lang="en-US" sz="1600" b="1" cap="all" spc="300" baseline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16697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ure">
            <a:extLst>
              <a:ext uri="{FF2B5EF4-FFF2-40B4-BE49-F238E27FC236}">
                <a16:creationId xmlns:a16="http://schemas.microsoft.com/office/drawing/2014/main" id="{8069FB3F-2D73-4C3F-A7A8-E6A22F71C3A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544ECD5-A100-4CBB-BE85-5E2DB93996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21034" b="37183"/>
          <a:stretch/>
        </p:blipFill>
        <p:spPr>
          <a:xfrm>
            <a:off x="0" y="5372101"/>
            <a:ext cx="2354138" cy="1485900"/>
          </a:xfrm>
          <a:prstGeom prst="rect">
            <a:avLst/>
          </a:prstGeom>
        </p:spPr>
      </p:pic>
      <p:sp>
        <p:nvSpPr>
          <p:cNvPr id="5" name="Subtitle">
            <a:extLst>
              <a:ext uri="{FF2B5EF4-FFF2-40B4-BE49-F238E27FC236}">
                <a16:creationId xmlns:a16="http://schemas.microsoft.com/office/drawing/2014/main" id="{1C588A51-7159-4E94-9856-B64483B8F9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479908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cap="all" spc="300" baseline="0" dirty="0">
                <a:solidFill>
                  <a:schemeClr val="bg1"/>
                </a:solidFill>
              </a:defRPr>
            </a:lvl1pPr>
          </a:lstStyle>
          <a:p>
            <a:pPr marL="182880" lvl="0" indent="-182880"/>
            <a:r>
              <a:rPr lang="en-US"/>
              <a:t>Subtitle (Delete if not used)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DB11C21-4702-4664-8D59-793314F8EA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02" y="3528919"/>
            <a:ext cx="9372600" cy="1214393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Segue Layou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052D0D-2EA4-4CCE-90FA-A02A78C3585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C761C9BF-9222-4B2A-A19A-B5A2710D93B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18" name="Logo">
            <a:extLst>
              <a:ext uri="{FF2B5EF4-FFF2-40B4-BE49-F238E27FC236}">
                <a16:creationId xmlns:a16="http://schemas.microsoft.com/office/drawing/2014/main" id="{507CC42B-659C-4CD4-9F20-358BBD7B0A6B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648801B8-52B3-47AC-9853-2375E256E3A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64F20CB9-4127-4672-B9D3-714FA916023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5984332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US" sz="1600" b="1" cap="all" spc="300" baseline="0" dirty="0">
                <a:solidFill>
                  <a:schemeClr val="bg1"/>
                </a:solidFill>
              </a:defRPr>
            </a:lvl1pPr>
          </a:lstStyle>
          <a:p>
            <a:pPr marL="182880" lvl="0" indent="-182880"/>
            <a:r>
              <a:rPr lang="en-US"/>
              <a:t>Subtitle (Delete if not used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4ADC8EF-0ABA-4B52-AEA2-7A3943163EA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2B8CEC4-B0CD-4400-A6AD-DD3E12310A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 Only Layout</a:t>
            </a:r>
          </a:p>
        </p:txBody>
      </p:sp>
    </p:spTree>
    <p:extLst>
      <p:ext uri="{BB962C8B-B14F-4D97-AF65-F5344CB8AC3E}">
        <p14:creationId xmlns:p14="http://schemas.microsoft.com/office/powerpoint/2010/main" val="9449490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77544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D468E16-0E6F-4B64-BCD8-5D8D8376E1A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960892"/>
            <a:ext cx="11292840" cy="4479059"/>
          </a:xfrm>
        </p:spPr>
        <p:txBody>
          <a:bodyPr/>
          <a:lstStyle>
            <a:lvl1pPr>
              <a:spcBef>
                <a:spcPts val="300"/>
              </a:spcBef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spcBef>
                <a:spcPts val="0"/>
              </a:spcBef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spcBef>
                <a:spcPts val="0"/>
              </a:spcBef>
              <a:defRPr sz="18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457200" indent="-457200">
              <a:buFont typeface="Arial" panose="020B0604020202020204" pitchFamily="34" charset="0"/>
              <a:buChar char="•"/>
              <a:defRPr/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marL="742950" indent="-17303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cap="none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5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F94C0C-A1DE-4B4E-81B9-17917168456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56CA66E-0730-4548-BD28-48477B0C3C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One Column Layout</a:t>
            </a:r>
          </a:p>
        </p:txBody>
      </p:sp>
    </p:spTree>
    <p:extLst>
      <p:ext uri="{BB962C8B-B14F-4D97-AF65-F5344CB8AC3E}">
        <p14:creationId xmlns:p14="http://schemas.microsoft.com/office/powerpoint/2010/main" val="39370368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419DE35-D0AB-4348-89C4-2714CF5EEDE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08776" y="1802869"/>
            <a:ext cx="5532120" cy="4479059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D468E16-0E6F-4B64-BCD8-5D8D8376E1A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2869"/>
            <a:ext cx="5532120" cy="4479059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/>
              <a:t>Subtitle (Delete if not used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08BA35-76C2-4ED8-B770-6CBDC27C821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0187FFC-2B63-49CE-B2BC-B238E1BC79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wo Column Layout</a:t>
            </a:r>
          </a:p>
        </p:txBody>
      </p:sp>
    </p:spTree>
    <p:extLst>
      <p:ext uri="{BB962C8B-B14F-4D97-AF65-F5344CB8AC3E}">
        <p14:creationId xmlns:p14="http://schemas.microsoft.com/office/powerpoint/2010/main" val="40090239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4E7D5292-8D24-405D-9E5D-79D2DD40F68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129016" y="1802869"/>
            <a:ext cx="3611880" cy="4479504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419DE35-D0AB-4348-89C4-2714CF5EEDE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289298" y="1802424"/>
            <a:ext cx="3611880" cy="4479504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D468E16-0E6F-4B64-BCD8-5D8D8376E1A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2424"/>
            <a:ext cx="3611880" cy="4479504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/>
              <a:t>Subtitle (Delete if not used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504F64A-6956-41D3-B0E4-CCC3453A7F7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030608-2773-46C2-905B-B17C3B831C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hree Column Layout</a:t>
            </a:r>
          </a:p>
        </p:txBody>
      </p:sp>
    </p:spTree>
    <p:extLst>
      <p:ext uri="{BB962C8B-B14F-4D97-AF65-F5344CB8AC3E}">
        <p14:creationId xmlns:p14="http://schemas.microsoft.com/office/powerpoint/2010/main" val="31080584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999E3BF3-DA31-48DD-AC45-91FC2DBAAD4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251704" y="0"/>
            <a:ext cx="6940296" cy="6858000"/>
          </a:xfrm>
          <a:solidFill>
            <a:schemeClr val="bg1">
              <a:lumMod val="85000"/>
            </a:schemeClr>
          </a:solidFill>
        </p:spPr>
        <p:txBody>
          <a:bodyPr vert="horz" lIns="0" tIns="0" rIns="0" bIns="82296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Click icon below to insert picture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D468E16-0E6F-4B64-BCD8-5D8D8376E1A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1368"/>
            <a:ext cx="4206240" cy="448056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420624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/>
              <a:t>Subtitle (D.I.N.U.)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D051183-1C65-4067-A80F-CAB4F09E82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02" y="372339"/>
            <a:ext cx="4206240" cy="492443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Photo Right Layout</a:t>
            </a:r>
          </a:p>
        </p:txBody>
      </p:sp>
    </p:spTree>
    <p:extLst>
      <p:ext uri="{BB962C8B-B14F-4D97-AF65-F5344CB8AC3E}">
        <p14:creationId xmlns:p14="http://schemas.microsoft.com/office/powerpoint/2010/main" val="31941924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04A056E-0A81-49A4-A1E8-EC8E2D83F6A9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447"/>
            <a:ext cx="12192000" cy="6857107"/>
          </a:xfrm>
          <a:solidFill>
            <a:schemeClr val="bg1">
              <a:lumMod val="85000"/>
            </a:schemeClr>
          </a:solidFill>
        </p:spPr>
        <p:txBody>
          <a:bodyPr bIns="640080" anchor="ctr"/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below to insert a picture</a:t>
            </a:r>
          </a:p>
        </p:txBody>
      </p:sp>
    </p:spTree>
    <p:extLst>
      <p:ext uri="{BB962C8B-B14F-4D97-AF65-F5344CB8AC3E}">
        <p14:creationId xmlns:p14="http://schemas.microsoft.com/office/powerpoint/2010/main" val="9543610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42729952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73" imgH="476" progId="TCLayout.ActiveDocument.1">
                  <p:embed/>
                </p:oleObj>
              </mc:Choice>
              <mc:Fallback>
                <p:oleObj name="think-cell Slide" r:id="rId22" imgW="473" imgH="47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3446518C-C5C5-4D58-B4D2-B85C0BD81B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4"/>
          <a:srcRect l="15280" b="23627"/>
          <a:stretch/>
        </p:blipFill>
        <p:spPr>
          <a:xfrm>
            <a:off x="0" y="6024563"/>
            <a:ext cx="2112478" cy="83343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098CF84-0D02-4614-8A26-93A1CB865A2B}"/>
              </a:ext>
            </a:extLst>
          </p:cNvPr>
          <p:cNvSpPr/>
          <p:nvPr userDrawn="1"/>
        </p:nvSpPr>
        <p:spPr>
          <a:xfrm>
            <a:off x="0" y="0"/>
            <a:ext cx="327025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9773789E-1482-4DF2-AC34-ED595BC86F6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71" name="Text Placeholder 70">
            <a:extLst>
              <a:ext uri="{FF2B5EF4-FFF2-40B4-BE49-F238E27FC236}">
                <a16:creationId xmlns:a16="http://schemas.microsoft.com/office/drawing/2014/main" id="{14A8E363-B738-48A5-915F-96EF63027B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9201" y="1802870"/>
            <a:ext cx="11293597" cy="44757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First level: Bullet, 20pt</a:t>
            </a:r>
          </a:p>
          <a:p>
            <a:pPr lvl="1"/>
            <a:r>
              <a:rPr lang="en-US"/>
              <a:t>Second level: Sub-bullet 1, 18pt</a:t>
            </a:r>
          </a:p>
          <a:p>
            <a:pPr lvl="2"/>
            <a:r>
              <a:rPr lang="en-US"/>
              <a:t>Third level: Sub-bullet 2, 16pt</a:t>
            </a:r>
          </a:p>
          <a:p>
            <a:pPr lvl="3"/>
            <a:r>
              <a:rPr lang="en-US"/>
              <a:t>Fourth level: Heading 1, 28pt</a:t>
            </a:r>
          </a:p>
          <a:p>
            <a:pPr lvl="4"/>
            <a:r>
              <a:rPr lang="en-US"/>
              <a:t>Fifth level: Description 1, 18pt</a:t>
            </a:r>
          </a:p>
          <a:p>
            <a:pPr lvl="5"/>
            <a:r>
              <a:rPr lang="en-US"/>
              <a:t>Sixth level: Heading 2, 22pt</a:t>
            </a:r>
          </a:p>
          <a:p>
            <a:pPr lvl="6"/>
            <a:r>
              <a:rPr lang="en-US"/>
              <a:t>Seventh level: Description 2, 16pt</a:t>
            </a:r>
          </a:p>
          <a:p>
            <a:pPr lvl="7"/>
            <a:r>
              <a:rPr lang="en-US"/>
              <a:t>Eighth level: Stats 1, 36pt</a:t>
            </a:r>
          </a:p>
          <a:p>
            <a:pPr lvl="8"/>
            <a:r>
              <a:rPr lang="en-US"/>
              <a:t>Ninth level: Stats 2, 48p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49202" y="372339"/>
            <a:ext cx="11293597" cy="4924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Title, 32pt</a:t>
            </a:r>
          </a:p>
        </p:txBody>
      </p:sp>
      <p:grpSp>
        <p:nvGrpSpPr>
          <p:cNvPr id="8" name="Logo">
            <a:extLst>
              <a:ext uri="{FF2B5EF4-FFF2-40B4-BE49-F238E27FC236}">
                <a16:creationId xmlns:a16="http://schemas.microsoft.com/office/drawing/2014/main" id="{CBB5A743-284E-4F77-9C07-20F6113DB3BD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BB597971-37D3-4BC0-93F4-2E4A0C596B82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710CFBDD-008A-42F6-B152-7F57EF7924F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3B7BE8C-9254-49C6-B935-75CCECC5C1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47297"/>
            <a:ext cx="41148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1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Optional Title of the Presentation</a:t>
            </a:r>
          </a:p>
        </p:txBody>
      </p:sp>
    </p:spTree>
    <p:extLst>
      <p:ext uri="{BB962C8B-B14F-4D97-AF65-F5344CB8AC3E}">
        <p14:creationId xmlns:p14="http://schemas.microsoft.com/office/powerpoint/2010/main" val="17560521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1" kern="1200"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10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365760" indent="-182880" algn="l" defTabSz="914400" rtl="0" eaLnBrk="1" latinLnBrk="0" hangingPunct="1">
        <a:lnSpc>
          <a:spcPct val="100000"/>
        </a:lnSpc>
        <a:spcBef>
          <a:spcPts val="2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30352" indent="-164592" algn="l" defTabSz="914400" rtl="0" eaLnBrk="1" latinLnBrk="0" hangingPunct="1">
        <a:lnSpc>
          <a:spcPct val="90000"/>
        </a:lnSpc>
        <a:spcBef>
          <a:spcPts val="2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800"/>
        </a:spcBef>
        <a:spcAft>
          <a:spcPts val="600"/>
        </a:spcAft>
        <a:buFont typeface="Arial" panose="020B0604020202020204" pitchFamily="34" charset="0"/>
        <a:buChar char="​"/>
        <a:defRPr sz="2800" b="1" kern="1200" cap="all" spc="60" baseline="0">
          <a:solidFill>
            <a:schemeClr val="accent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Font typeface="Arial" panose="020B0604020202020204" pitchFamily="34" charset="0"/>
        <a:buChar char="​"/>
        <a:defRPr lang="en-US" sz="1800" b="0" kern="1200" cap="none" spc="0" baseline="0" dirty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2200" b="1" kern="1200" cap="all" spc="60" baseline="0" dirty="0" smtClean="0">
          <a:solidFill>
            <a:schemeClr val="accent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200"/>
        </a:spcBef>
        <a:spcAft>
          <a:spcPts val="600"/>
        </a:spcAft>
        <a:buFont typeface="Arial" panose="020B0604020202020204" pitchFamily="34" charset="0"/>
        <a:buChar char="​"/>
        <a:defRPr lang="en-US" sz="1600" kern="1200" dirty="0" smtClean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7pPr>
      <a:lvl8pPr marL="1588" indent="-1588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3600" b="1" i="1" kern="1200" dirty="0" smtClean="0">
          <a:solidFill>
            <a:schemeClr val="accent1"/>
          </a:solidFill>
          <a:latin typeface="+mn-lt"/>
          <a:ea typeface="+mn-ea"/>
          <a:cs typeface="+mn-cs"/>
        </a:defRPr>
      </a:lvl8pPr>
      <a:lvl9pPr marL="1588" indent="-1588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4800" b="1" i="1" kern="1200" dirty="0" smtClean="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514E67-E40F-41CB-9B53-C634BFE3E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577" y="2036540"/>
            <a:ext cx="11340846" cy="1336928"/>
          </a:xfrm>
        </p:spPr>
        <p:txBody>
          <a:bodyPr/>
          <a:lstStyle/>
          <a:p>
            <a:r>
              <a:rPr lang="en-US" dirty="0"/>
              <a:t>OPI security APIs</a:t>
            </a:r>
            <a:br>
              <a:rPr lang="en-US" dirty="0"/>
            </a:br>
            <a:r>
              <a:rPr lang="en-US" dirty="0"/>
              <a:t>- demo -</a:t>
            </a:r>
          </a:p>
        </p:txBody>
      </p:sp>
    </p:spTree>
    <p:extLst>
      <p:ext uri="{BB962C8B-B14F-4D97-AF65-F5344CB8AC3E}">
        <p14:creationId xmlns:p14="http://schemas.microsoft.com/office/powerpoint/2010/main" val="37974255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1D7F833-BF9A-004C-EB73-0678C95D996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06302" y="1216836"/>
            <a:ext cx="11293597" cy="4965849"/>
          </a:xfrm>
        </p:spPr>
        <p:txBody>
          <a:bodyPr vert="horz" lIns="0" tIns="0" rIns="0" bIns="0" rtlCol="0" anchor="t">
            <a:noAutofit/>
          </a:bodyPr>
          <a:lstStyle/>
          <a:p>
            <a:pPr marL="0" indent="0">
              <a:buNone/>
            </a:pPr>
            <a:r>
              <a:rPr lang="en-US" b="1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Used in the demo:</a:t>
            </a:r>
          </a:p>
          <a:p>
            <a:r>
              <a:rPr lang="en-US" b="0" dirty="0" err="1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rpc</a:t>
            </a:r>
            <a:r>
              <a:rPr lang="en-US" b="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0070C0"/>
                </a:solidFill>
                <a:effectLst/>
                <a:latin typeface="Consolas" panose="020B0609020204030204" pitchFamily="49" charset="0"/>
              </a:rPr>
              <a:t>IPsecVersion</a:t>
            </a:r>
            <a:r>
              <a:rPr lang="en-US" b="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US" b="0" dirty="0" err="1">
                <a:solidFill>
                  <a:schemeClr val="accent4">
                    <a:lumMod val="60000"/>
                    <a:lumOff val="40000"/>
                  </a:schemeClr>
                </a:solidFill>
                <a:effectLst/>
                <a:latin typeface="Consolas" panose="020B0609020204030204" pitchFamily="49" charset="0"/>
              </a:rPr>
              <a:t>IPsecVersionReq</a:t>
            </a:r>
            <a:r>
              <a:rPr lang="en-US" b="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) returns (</a:t>
            </a:r>
            <a:r>
              <a:rPr lang="en-US" b="0" dirty="0" err="1">
                <a:solidFill>
                  <a:schemeClr val="accent2">
                    <a:lumMod val="75000"/>
                  </a:schemeClr>
                </a:solidFill>
                <a:effectLst/>
                <a:latin typeface="Consolas" panose="020B0609020204030204" pitchFamily="49" charset="0"/>
              </a:rPr>
              <a:t>IPsecVersionResp</a:t>
            </a:r>
            <a:r>
              <a:rPr lang="en-US" b="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) {}</a:t>
            </a:r>
          </a:p>
          <a:p>
            <a:r>
              <a:rPr lang="en-US" b="0" dirty="0" err="1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rpc</a:t>
            </a:r>
            <a:r>
              <a:rPr lang="en-US" b="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0070C0"/>
                </a:solidFill>
                <a:effectLst/>
                <a:latin typeface="Consolas" panose="020B0609020204030204" pitchFamily="49" charset="0"/>
              </a:rPr>
              <a:t>IPsecStats</a:t>
            </a:r>
            <a:r>
              <a:rPr lang="en-US" b="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   (</a:t>
            </a:r>
            <a:r>
              <a:rPr lang="en-US" b="0" dirty="0" err="1">
                <a:solidFill>
                  <a:schemeClr val="accent4">
                    <a:lumMod val="60000"/>
                    <a:lumOff val="40000"/>
                  </a:schemeClr>
                </a:solidFill>
                <a:effectLst/>
                <a:latin typeface="Consolas" panose="020B0609020204030204" pitchFamily="49" charset="0"/>
              </a:rPr>
              <a:t>IPsecStatsReq</a:t>
            </a:r>
            <a:r>
              <a:rPr lang="en-US" b="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)   returns (</a:t>
            </a:r>
            <a:r>
              <a:rPr lang="en-US" b="0" dirty="0" err="1">
                <a:solidFill>
                  <a:schemeClr val="accent2">
                    <a:lumMod val="75000"/>
                  </a:schemeClr>
                </a:solidFill>
                <a:effectLst/>
                <a:latin typeface="Consolas" panose="020B0609020204030204" pitchFamily="49" charset="0"/>
              </a:rPr>
              <a:t>IPsecStatsResp</a:t>
            </a:r>
            <a:r>
              <a:rPr lang="en-US" b="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)   {}</a:t>
            </a:r>
          </a:p>
          <a:p>
            <a:r>
              <a:rPr lang="en-US" b="0" dirty="0" err="1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rpc</a:t>
            </a:r>
            <a:r>
              <a:rPr lang="en-US" b="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0070C0"/>
                </a:solidFill>
                <a:effectLst/>
                <a:latin typeface="Consolas" panose="020B0609020204030204" pitchFamily="49" charset="0"/>
              </a:rPr>
              <a:t>IPsecLoadConn</a:t>
            </a:r>
            <a:r>
              <a:rPr lang="en-US" b="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US" b="0" dirty="0" err="1">
                <a:solidFill>
                  <a:schemeClr val="accent4">
                    <a:lumMod val="60000"/>
                    <a:lumOff val="40000"/>
                  </a:schemeClr>
                </a:solidFill>
                <a:effectLst/>
                <a:latin typeface="Consolas" panose="020B0609020204030204" pitchFamily="49" charset="0"/>
              </a:rPr>
              <a:t>IPsecLoadConnReq</a:t>
            </a:r>
            <a:r>
              <a:rPr lang="en-US" b="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) returns (</a:t>
            </a:r>
            <a:r>
              <a:rPr lang="en-US" b="0" dirty="0" err="1">
                <a:solidFill>
                  <a:schemeClr val="accent2">
                    <a:lumMod val="75000"/>
                  </a:schemeClr>
                </a:solidFill>
                <a:effectLst/>
                <a:latin typeface="Consolas" panose="020B0609020204030204" pitchFamily="49" charset="0"/>
              </a:rPr>
              <a:t>IPsecLoadConnResp</a:t>
            </a:r>
            <a:r>
              <a:rPr lang="en-US" b="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) </a:t>
            </a:r>
            <a:r>
              <a:rPr lang="en-US" b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{} </a:t>
            </a:r>
          </a:p>
          <a:p>
            <a:r>
              <a:rPr lang="en-US" b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rpc</a:t>
            </a:r>
            <a:r>
              <a:rPr lang="en-US" b="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0070C0"/>
                </a:solidFill>
                <a:effectLst/>
                <a:latin typeface="Consolas" panose="020B0609020204030204" pitchFamily="49" charset="0"/>
              </a:rPr>
              <a:t>IPsecListConns</a:t>
            </a:r>
            <a:r>
              <a:rPr lang="en-US" b="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US" b="0" dirty="0" err="1">
                <a:solidFill>
                  <a:schemeClr val="accent4">
                    <a:lumMod val="60000"/>
                    <a:lumOff val="40000"/>
                  </a:schemeClr>
                </a:solidFill>
                <a:effectLst/>
                <a:latin typeface="Consolas" panose="020B0609020204030204" pitchFamily="49" charset="0"/>
              </a:rPr>
              <a:t>IPsecListConnsReq</a:t>
            </a:r>
            <a:r>
              <a:rPr lang="en-US" b="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) returns (</a:t>
            </a:r>
            <a:r>
              <a:rPr lang="en-US" b="0" dirty="0" err="1">
                <a:solidFill>
                  <a:schemeClr val="accent2">
                    <a:lumMod val="75000"/>
                  </a:schemeClr>
                </a:solidFill>
                <a:effectLst/>
                <a:latin typeface="Consolas" panose="020B0609020204030204" pitchFamily="49" charset="0"/>
              </a:rPr>
              <a:t>IPsecListConnsResp</a:t>
            </a:r>
            <a:r>
              <a:rPr lang="en-US" b="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) {}</a:t>
            </a:r>
          </a:p>
          <a:p>
            <a:r>
              <a:rPr lang="en-US" b="0" dirty="0" err="1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rpc</a:t>
            </a:r>
            <a:r>
              <a:rPr lang="en-US" b="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0070C0"/>
                </a:solidFill>
                <a:effectLst/>
                <a:latin typeface="Consolas" panose="020B0609020204030204" pitchFamily="49" charset="0"/>
              </a:rPr>
              <a:t>IPsecListSas</a:t>
            </a:r>
            <a:r>
              <a:rPr lang="en-US" b="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US" b="0" dirty="0" err="1">
                <a:solidFill>
                  <a:schemeClr val="accent4">
                    <a:lumMod val="60000"/>
                    <a:lumOff val="40000"/>
                  </a:schemeClr>
                </a:solidFill>
                <a:effectLst/>
                <a:latin typeface="Consolas" panose="020B0609020204030204" pitchFamily="49" charset="0"/>
              </a:rPr>
              <a:t>IPsecListSasReq</a:t>
            </a:r>
            <a:r>
              <a:rPr lang="en-US" b="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) returns (</a:t>
            </a:r>
            <a:r>
              <a:rPr lang="en-US" b="0" dirty="0" err="1">
                <a:solidFill>
                  <a:schemeClr val="accent2">
                    <a:lumMod val="75000"/>
                  </a:schemeClr>
                </a:solidFill>
                <a:effectLst/>
                <a:latin typeface="Consolas" panose="020B0609020204030204" pitchFamily="49" charset="0"/>
              </a:rPr>
              <a:t>IPsecListSasResp</a:t>
            </a:r>
            <a:r>
              <a:rPr lang="en-US" b="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) {} </a:t>
            </a:r>
          </a:p>
          <a:p>
            <a:r>
              <a:rPr lang="en-US" b="0" dirty="0" err="1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rpc</a:t>
            </a:r>
            <a:r>
              <a:rPr lang="en-US" b="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0070C0"/>
                </a:solidFill>
                <a:effectLst/>
                <a:latin typeface="Consolas" panose="020B0609020204030204" pitchFamily="49" charset="0"/>
              </a:rPr>
              <a:t>IPsecListCerts</a:t>
            </a:r>
            <a:r>
              <a:rPr lang="en-US" b="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US" b="0" dirty="0" err="1">
                <a:solidFill>
                  <a:schemeClr val="accent4">
                    <a:lumMod val="60000"/>
                    <a:lumOff val="40000"/>
                  </a:schemeClr>
                </a:solidFill>
                <a:effectLst/>
                <a:latin typeface="Consolas" panose="020B0609020204030204" pitchFamily="49" charset="0"/>
              </a:rPr>
              <a:t>IPsecListCertsReq</a:t>
            </a:r>
            <a:r>
              <a:rPr lang="en-US" b="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) returns (</a:t>
            </a:r>
            <a:r>
              <a:rPr lang="en-US" b="0" dirty="0" err="1">
                <a:solidFill>
                  <a:schemeClr val="accent2">
                    <a:lumMod val="75000"/>
                  </a:schemeClr>
                </a:solidFill>
                <a:effectLst/>
                <a:latin typeface="Consolas" panose="020B0609020204030204" pitchFamily="49" charset="0"/>
              </a:rPr>
              <a:t>IPsecListCertsResp</a:t>
            </a:r>
            <a:r>
              <a:rPr lang="en-US" b="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) {}</a:t>
            </a:r>
          </a:p>
          <a:p>
            <a:endParaRPr lang="en-US" dirty="0">
              <a:solidFill>
                <a:schemeClr val="tx1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en-US" b="1" dirty="0">
                <a:solidFill>
                  <a:schemeClr val="tx1"/>
                </a:solidFill>
                <a:latin typeface="Consolas" panose="020B0609020204030204" pitchFamily="49" charset="0"/>
              </a:rPr>
              <a:t>Available but not used:</a:t>
            </a:r>
          </a:p>
          <a:p>
            <a:r>
              <a:rPr lang="en-US" b="0" dirty="0" err="1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rpc</a:t>
            </a:r>
            <a:r>
              <a:rPr lang="en-US" b="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0070C0"/>
                </a:solidFill>
                <a:effectLst/>
                <a:latin typeface="Consolas" panose="020B0609020204030204" pitchFamily="49" charset="0"/>
              </a:rPr>
              <a:t>IPsecInitiate</a:t>
            </a:r>
            <a:r>
              <a:rPr lang="en-US" b="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US" b="0" dirty="0" err="1">
                <a:solidFill>
                  <a:schemeClr val="accent4">
                    <a:lumMod val="60000"/>
                    <a:lumOff val="40000"/>
                  </a:schemeClr>
                </a:solidFill>
                <a:effectLst/>
                <a:latin typeface="Consolas" panose="020B0609020204030204" pitchFamily="49" charset="0"/>
              </a:rPr>
              <a:t>IPsecInitiateReq</a:t>
            </a:r>
            <a:r>
              <a:rPr lang="en-US" b="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) returns (</a:t>
            </a:r>
            <a:r>
              <a:rPr lang="en-US" b="0" dirty="0" err="1">
                <a:solidFill>
                  <a:schemeClr val="accent2">
                    <a:lumMod val="75000"/>
                  </a:schemeClr>
                </a:solidFill>
                <a:effectLst/>
                <a:latin typeface="Consolas" panose="020B0609020204030204" pitchFamily="49" charset="0"/>
              </a:rPr>
              <a:t>IPsecInitiateResp</a:t>
            </a:r>
            <a:r>
              <a:rPr lang="en-US" b="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) {}</a:t>
            </a:r>
          </a:p>
          <a:p>
            <a:r>
              <a:rPr lang="en-US" b="0" dirty="0" err="1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rpc</a:t>
            </a:r>
            <a:r>
              <a:rPr lang="en-US" b="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0070C0"/>
                </a:solidFill>
                <a:effectLst/>
                <a:latin typeface="Consolas" panose="020B0609020204030204" pitchFamily="49" charset="0"/>
              </a:rPr>
              <a:t>IPsecTerminate</a:t>
            </a:r>
            <a:r>
              <a:rPr lang="en-US" b="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US" b="0" dirty="0" err="1">
                <a:solidFill>
                  <a:schemeClr val="accent4">
                    <a:lumMod val="60000"/>
                    <a:lumOff val="40000"/>
                  </a:schemeClr>
                </a:solidFill>
                <a:effectLst/>
                <a:latin typeface="Consolas" panose="020B0609020204030204" pitchFamily="49" charset="0"/>
              </a:rPr>
              <a:t>IPsecTerminateReq</a:t>
            </a:r>
            <a:r>
              <a:rPr lang="en-US" b="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) returns (</a:t>
            </a:r>
            <a:r>
              <a:rPr lang="en-US" b="0" dirty="0" err="1">
                <a:solidFill>
                  <a:schemeClr val="accent2">
                    <a:lumMod val="75000"/>
                  </a:schemeClr>
                </a:solidFill>
                <a:effectLst/>
                <a:latin typeface="Consolas" panose="020B0609020204030204" pitchFamily="49" charset="0"/>
              </a:rPr>
              <a:t>IPsecTerminateResp</a:t>
            </a:r>
            <a:r>
              <a:rPr lang="en-US" b="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) {}</a:t>
            </a:r>
          </a:p>
          <a:p>
            <a:r>
              <a:rPr lang="en-US" b="0" dirty="0" err="1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rpc</a:t>
            </a:r>
            <a:r>
              <a:rPr lang="en-US" b="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0070C0"/>
                </a:solidFill>
                <a:effectLst/>
                <a:latin typeface="Consolas" panose="020B0609020204030204" pitchFamily="49" charset="0"/>
              </a:rPr>
              <a:t>IPsecRekey</a:t>
            </a:r>
            <a:r>
              <a:rPr lang="en-US" b="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US" b="0" dirty="0" err="1">
                <a:solidFill>
                  <a:schemeClr val="accent4">
                    <a:lumMod val="60000"/>
                    <a:lumOff val="40000"/>
                  </a:schemeClr>
                </a:solidFill>
                <a:effectLst/>
                <a:latin typeface="Consolas" panose="020B0609020204030204" pitchFamily="49" charset="0"/>
              </a:rPr>
              <a:t>IPsecRekeyReq</a:t>
            </a:r>
            <a:r>
              <a:rPr lang="en-US" b="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) returns (</a:t>
            </a:r>
            <a:r>
              <a:rPr lang="en-US" b="0" dirty="0" err="1">
                <a:solidFill>
                  <a:schemeClr val="accent2">
                    <a:lumMod val="75000"/>
                  </a:schemeClr>
                </a:solidFill>
                <a:effectLst/>
                <a:latin typeface="Consolas" panose="020B0609020204030204" pitchFamily="49" charset="0"/>
              </a:rPr>
              <a:t>IPsecRekeyResp</a:t>
            </a:r>
            <a:r>
              <a:rPr lang="en-US" b="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) {}</a:t>
            </a:r>
          </a:p>
          <a:p>
            <a:r>
              <a:rPr lang="en-US" b="0" dirty="0" err="1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rpc</a:t>
            </a:r>
            <a:r>
              <a:rPr lang="en-US" b="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0070C0"/>
                </a:solidFill>
                <a:effectLst/>
                <a:latin typeface="Consolas" panose="020B0609020204030204" pitchFamily="49" charset="0"/>
              </a:rPr>
              <a:t>IPsecUnloadConn</a:t>
            </a:r>
            <a:r>
              <a:rPr lang="en-US" b="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US" b="0" dirty="0" err="1">
                <a:solidFill>
                  <a:schemeClr val="accent4">
                    <a:lumMod val="60000"/>
                    <a:lumOff val="40000"/>
                  </a:schemeClr>
                </a:solidFill>
                <a:effectLst/>
                <a:latin typeface="Consolas" panose="020B0609020204030204" pitchFamily="49" charset="0"/>
              </a:rPr>
              <a:t>IPsecUnloadConnReq</a:t>
            </a:r>
            <a:r>
              <a:rPr lang="en-US" b="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) returns (</a:t>
            </a:r>
            <a:r>
              <a:rPr lang="en-US" b="0" dirty="0" err="1">
                <a:solidFill>
                  <a:schemeClr val="accent2">
                    <a:lumMod val="75000"/>
                  </a:schemeClr>
                </a:solidFill>
                <a:effectLst/>
                <a:latin typeface="Consolas" panose="020B0609020204030204" pitchFamily="49" charset="0"/>
              </a:rPr>
              <a:t>IPsecUnloadConnResp</a:t>
            </a:r>
            <a:r>
              <a:rPr lang="en-US" b="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) {}</a:t>
            </a:r>
          </a:p>
          <a:p>
            <a:endParaRPr lang="en-US" b="0" dirty="0">
              <a:solidFill>
                <a:schemeClr val="tx1"/>
              </a:solidFill>
              <a:effectLst/>
              <a:latin typeface="Consolas" panose="020B0609020204030204" pitchFamily="49" charset="0"/>
            </a:endParaRPr>
          </a:p>
          <a:p>
            <a:pPr marL="0" indent="0">
              <a:buNone/>
            </a:pPr>
            <a:endParaRPr lang="en-US" sz="1600" b="0" i="0" dirty="0">
              <a:solidFill>
                <a:srgbClr val="24292F"/>
              </a:solidFill>
              <a:effectLst/>
              <a:latin typeface="ui-monospace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DE3154B-A0F2-89CD-A37B-B48725B2DC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6302" y="289421"/>
            <a:ext cx="11293597" cy="492443"/>
          </a:xfrm>
        </p:spPr>
        <p:txBody>
          <a:bodyPr/>
          <a:lstStyle/>
          <a:p>
            <a:r>
              <a:rPr lang="en-US" dirty="0"/>
              <a:t>API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22752CF-C6AE-4E88-A61A-9F479DFF6A71}"/>
              </a:ext>
            </a:extLst>
          </p:cNvPr>
          <p:cNvSpPr txBox="1"/>
          <p:nvPr/>
        </p:nvSpPr>
        <p:spPr>
          <a:xfrm>
            <a:off x="3392813" y="6059684"/>
            <a:ext cx="60966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u="sng" dirty="0">
                <a:solidFill>
                  <a:srgbClr val="0000FF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ttps://github.com/opiproject/opi-api/tree/main/security</a:t>
            </a:r>
          </a:p>
        </p:txBody>
      </p:sp>
    </p:spTree>
    <p:extLst>
      <p:ext uri="{BB962C8B-B14F-4D97-AF65-F5344CB8AC3E}">
        <p14:creationId xmlns:p14="http://schemas.microsoft.com/office/powerpoint/2010/main" val="2643860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897564A-E1E0-21FC-D497-26813137785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04469"/>
            <a:ext cx="12192000" cy="4649061"/>
          </a:xfrm>
          <a:prstGeom prst="rect">
            <a:avLst/>
          </a:prstGeom>
        </p:spPr>
      </p:pic>
      <p:sp>
        <p:nvSpPr>
          <p:cNvPr id="7" name="Title 3">
            <a:extLst>
              <a:ext uri="{FF2B5EF4-FFF2-40B4-BE49-F238E27FC236}">
                <a16:creationId xmlns:a16="http://schemas.microsoft.com/office/drawing/2014/main" id="{6E4FC3F4-404F-FEB5-9914-7E6B0B557D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202" y="372339"/>
            <a:ext cx="11293597" cy="492443"/>
          </a:xfrm>
        </p:spPr>
        <p:txBody>
          <a:bodyPr/>
          <a:lstStyle/>
          <a:p>
            <a:r>
              <a:rPr lang="en-US"/>
              <a:t>Demo topology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ED0B3378-28B1-3506-DAF4-B7B70B00F4FB}"/>
              </a:ext>
            </a:extLst>
          </p:cNvPr>
          <p:cNvSpPr/>
          <p:nvPr/>
        </p:nvSpPr>
        <p:spPr>
          <a:xfrm>
            <a:off x="10434688" y="1315897"/>
            <a:ext cx="1613916" cy="1289304"/>
          </a:xfrm>
          <a:prstGeom prst="ellipse">
            <a:avLst/>
          </a:prstGeom>
          <a:noFill/>
          <a:ln w="571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8647528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DB66DAA-0F22-E71B-BDC2-EF47F70A13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63" y="576687"/>
            <a:ext cx="2989958" cy="1080541"/>
          </a:xfrm>
        </p:spPr>
        <p:txBody>
          <a:bodyPr/>
          <a:lstStyle/>
          <a:p>
            <a:r>
              <a:rPr lang="en-US" sz="6000" dirty="0"/>
              <a:t>Testbe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847B8BD-69BE-39CF-A1D5-FBB4951426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202" y="2158989"/>
            <a:ext cx="5492454" cy="4122324"/>
          </a:xfrm>
          <a:prstGeom prst="rect">
            <a:avLst/>
          </a:prstGeom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83CB54D8-95D5-EF09-996C-C40354B3F0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3160" y="2158989"/>
            <a:ext cx="5450840" cy="4087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B688BC4-0A4D-E5C8-1D03-6D0EF6AD449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01720" y="151461"/>
            <a:ext cx="8082280" cy="2210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3165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14C7797-5D00-2B35-0B70-04DEA9B72C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88253" y="2318657"/>
            <a:ext cx="4122965" cy="1583872"/>
          </a:xfrm>
        </p:spPr>
        <p:txBody>
          <a:bodyPr/>
          <a:lstStyle/>
          <a:p>
            <a:r>
              <a:rPr lang="en-US" sz="9600"/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2810443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7 Keysight Macro LIGHT">
  <a:themeElements>
    <a:clrScheme name="Keysight Light">
      <a:dk1>
        <a:sysClr val="windowText" lastClr="000000"/>
      </a:dk1>
      <a:lt1>
        <a:srgbClr val="FFFFFF"/>
      </a:lt1>
      <a:dk2>
        <a:srgbClr val="A4A1A9"/>
      </a:dk2>
      <a:lt2>
        <a:srgbClr val="FFA623"/>
      </a:lt2>
      <a:accent1>
        <a:srgbClr val="E90029"/>
      </a:accent1>
      <a:accent2>
        <a:srgbClr val="E76C27"/>
      </a:accent2>
      <a:accent3>
        <a:srgbClr val="8D3785"/>
      </a:accent3>
      <a:accent4>
        <a:srgbClr val="5B348A"/>
      </a:accent4>
      <a:accent5>
        <a:srgbClr val="225792"/>
      </a:accent5>
      <a:accent6>
        <a:srgbClr val="07858B"/>
      </a:accent6>
      <a:hlink>
        <a:srgbClr val="E90029"/>
      </a:hlink>
      <a:folHlink>
        <a:srgbClr val="74001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75000"/>
            <a:lumOff val="25000"/>
          </a:schemeClr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>
              <a:lumMod val="75000"/>
              <a:lumOff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dirty="0" err="1" smtClean="0">
            <a:solidFill>
              <a:schemeClr val="tx1">
                <a:lumMod val="85000"/>
                <a:lumOff val="1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Keysight_Widescreen_V4" id="{DC4312CC-30E5-4849-A086-7C4D73FA20C3}" vid="{09E1BDF4-1885-4DAF-8E1B-4BD8F029A7C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71</TotalTime>
  <Words>138</Words>
  <Application>Microsoft Office PowerPoint</Application>
  <PresentationFormat>Widescreen</PresentationFormat>
  <Paragraphs>20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Arial</vt:lpstr>
      <vt:lpstr>Calibri</vt:lpstr>
      <vt:lpstr>Consolas</vt:lpstr>
      <vt:lpstr>Franklin Gothic Book</vt:lpstr>
      <vt:lpstr>ui-monospace</vt:lpstr>
      <vt:lpstr>2017 Keysight Macro LIGHT</vt:lpstr>
      <vt:lpstr>think-cell Slide</vt:lpstr>
      <vt:lpstr>OPI security APIs - demo -</vt:lpstr>
      <vt:lpstr>APIs</vt:lpstr>
      <vt:lpstr>Demo topology</vt:lpstr>
      <vt:lpstr>Testbed</vt:lpstr>
      <vt:lpstr>DEMO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rcea Dan Gheorghe</dc:creator>
  <cp:lastModifiedBy>Mircea Dan Gheorghe</cp:lastModifiedBy>
  <cp:revision>12</cp:revision>
  <dcterms:created xsi:type="dcterms:W3CDTF">2022-12-02T21:12:15Z</dcterms:created>
  <dcterms:modified xsi:type="dcterms:W3CDTF">2023-02-01T01:00:04Z</dcterms:modified>
</cp:coreProperties>
</file>